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3.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media/image47.jpg" ContentType="image/jpg"/>
  <Override PartName="/ppt/media/image49.jpg" ContentType="image/jpg"/>
  <Override PartName="/ppt/media/image51.jpg" ContentType="image/jpg"/>
  <Override PartName="/ppt/media/image53.jpg" ContentType="image/jpg"/>
  <Override PartName="/ppt/media/image54.jpg" ContentType="image/jpg"/>
  <Override PartName="/ppt/media/image55.jpg" ContentType="image/jpg"/>
  <Override PartName="/ppt/media/image56.jpg" ContentType="image/jpg"/>
  <Override PartName="/ppt/media/image57.jpg" ContentType="image/jpg"/>
  <Override PartName="/ppt/media/image58.jpg" ContentType="image/jpg"/>
  <Override PartName="/ppt/media/image59.jpg" ContentType="image/jpg"/>
  <Override PartName="/ppt/media/image60.jpg" ContentType="image/jpg"/>
  <Override PartName="/ppt/media/image61.jpg" ContentType="image/jpg"/>
  <Override PartName="/ppt/media/image62.jpg" ContentType="image/jpg"/>
  <Override PartName="/ppt/media/image63.jpg" ContentType="image/jpg"/>
  <Override PartName="/ppt/media/image64.jpg" ContentType="image/jpg"/>
  <Override PartName="/ppt/media/image65.jpg" ContentType="image/jpg"/>
  <Override PartName="/ppt/media/image66.jpg" ContentType="image/jpg"/>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2" r:id="rId3"/>
    <p:sldMasterId id="2147483692" r:id="rId4"/>
    <p:sldMasterId id="2147483706" r:id="rId5"/>
  </p:sldMasterIdLst>
  <p:notesMasterIdLst>
    <p:notesMasterId r:id="rId64"/>
  </p:notesMasterIdLst>
  <p:sldIdLst>
    <p:sldId id="257" r:id="rId6"/>
    <p:sldId id="468" r:id="rId7"/>
    <p:sldId id="284" r:id="rId8"/>
    <p:sldId id="473" r:id="rId9"/>
    <p:sldId id="258" r:id="rId10"/>
    <p:sldId id="729" r:id="rId11"/>
    <p:sldId id="731" r:id="rId12"/>
    <p:sldId id="732" r:id="rId13"/>
    <p:sldId id="734" r:id="rId14"/>
    <p:sldId id="737" r:id="rId15"/>
    <p:sldId id="735" r:id="rId16"/>
    <p:sldId id="738" r:id="rId17"/>
    <p:sldId id="739" r:id="rId18"/>
    <p:sldId id="740" r:id="rId19"/>
    <p:sldId id="736" r:id="rId20"/>
    <p:sldId id="733" r:id="rId21"/>
    <p:sldId id="471" r:id="rId22"/>
    <p:sldId id="331" r:id="rId23"/>
    <p:sldId id="348" r:id="rId24"/>
    <p:sldId id="351" r:id="rId25"/>
    <p:sldId id="304" r:id="rId26"/>
    <p:sldId id="259" r:id="rId27"/>
    <p:sldId id="276" r:id="rId28"/>
    <p:sldId id="328" r:id="rId29"/>
    <p:sldId id="268" r:id="rId30"/>
    <p:sldId id="334" r:id="rId31"/>
    <p:sldId id="741" r:id="rId32"/>
    <p:sldId id="270" r:id="rId33"/>
    <p:sldId id="742" r:id="rId34"/>
    <p:sldId id="344" r:id="rId35"/>
    <p:sldId id="340" r:id="rId36"/>
    <p:sldId id="342" r:id="rId37"/>
    <p:sldId id="343" r:id="rId38"/>
    <p:sldId id="341" r:id="rId39"/>
    <p:sldId id="350" r:id="rId40"/>
    <p:sldId id="260" r:id="rId41"/>
    <p:sldId id="273" r:id="rId42"/>
    <p:sldId id="317" r:id="rId43"/>
    <p:sldId id="345" r:id="rId44"/>
    <p:sldId id="318" r:id="rId45"/>
    <p:sldId id="472" r:id="rId46"/>
    <p:sldId id="256" r:id="rId47"/>
    <p:sldId id="743" r:id="rId48"/>
    <p:sldId id="744" r:id="rId49"/>
    <p:sldId id="745" r:id="rId50"/>
    <p:sldId id="746" r:id="rId51"/>
    <p:sldId id="261" r:id="rId52"/>
    <p:sldId id="262" r:id="rId53"/>
    <p:sldId id="263" r:id="rId54"/>
    <p:sldId id="264" r:id="rId55"/>
    <p:sldId id="265" r:id="rId56"/>
    <p:sldId id="266" r:id="rId57"/>
    <p:sldId id="267" r:id="rId58"/>
    <p:sldId id="747" r:id="rId59"/>
    <p:sldId id="269" r:id="rId60"/>
    <p:sldId id="748" r:id="rId61"/>
    <p:sldId id="749" r:id="rId62"/>
    <p:sldId id="271" r:id="rId63"/>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0000"/>
    <a:srgbClr val="7F7F7F"/>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4D47B9-03A2-49B2-B46B-CA13B7C72CAA}" type="doc">
      <dgm:prSet loTypeId="urn:microsoft.com/office/officeart/2005/8/layout/hProcess9" loCatId="process" qsTypeId="urn:microsoft.com/office/officeart/2005/8/quickstyle/simple1" qsCatId="simple" csTypeId="urn:microsoft.com/office/officeart/2005/8/colors/accent1_2" csCatId="accent1" phldr="1"/>
      <dgm:spPr/>
    </dgm:pt>
    <dgm:pt modelId="{F111494F-1BB5-4F19-985E-19F21874F71B}">
      <dgm:prSet phldrT="[Text]" custT="1"/>
      <dgm:spPr/>
      <dgm:t>
        <a:bodyPr/>
        <a:lstStyle/>
        <a:p>
          <a:r>
            <a:rPr lang="en-US" sz="2400" b="1" dirty="0"/>
            <a:t>Research</a:t>
          </a:r>
        </a:p>
      </dgm:t>
    </dgm:pt>
    <dgm:pt modelId="{1984836D-5AD4-4034-BF93-528629483D1F}" type="parTrans" cxnId="{539A18AB-8918-4605-8D48-4788FC5E6896}">
      <dgm:prSet/>
      <dgm:spPr/>
      <dgm:t>
        <a:bodyPr/>
        <a:lstStyle/>
        <a:p>
          <a:endParaRPr lang="en-US"/>
        </a:p>
      </dgm:t>
    </dgm:pt>
    <dgm:pt modelId="{3757143F-DC70-4A55-80E9-01E23CB8CD4F}" type="sibTrans" cxnId="{539A18AB-8918-4605-8D48-4788FC5E6896}">
      <dgm:prSet/>
      <dgm:spPr/>
      <dgm:t>
        <a:bodyPr/>
        <a:lstStyle/>
        <a:p>
          <a:endParaRPr lang="en-US"/>
        </a:p>
      </dgm:t>
    </dgm:pt>
    <dgm:pt modelId="{B408C9C9-FB68-4973-8A8F-C2E82D6ACBE1}">
      <dgm:prSet phldrT="[Text]" custT="1"/>
      <dgm:spPr/>
      <dgm:t>
        <a:bodyPr/>
        <a:lstStyle/>
        <a:p>
          <a:r>
            <a:rPr lang="en-US" sz="2800" b="1" dirty="0"/>
            <a:t>Outcomes</a:t>
          </a:r>
        </a:p>
        <a:p>
          <a:r>
            <a:rPr lang="en-US" sz="1800" u="sng" dirty="0"/>
            <a:t>Academic: </a:t>
          </a:r>
          <a:r>
            <a:rPr lang="en-US" sz="1800" dirty="0"/>
            <a:t>citations, reviews, speaking invitations</a:t>
          </a:r>
        </a:p>
        <a:p>
          <a:r>
            <a:rPr lang="en-US" sz="1800" u="sng" dirty="0"/>
            <a:t>Public: </a:t>
          </a:r>
          <a:r>
            <a:rPr lang="en-US" sz="1800" dirty="0"/>
            <a:t>increased awareness and public discussion</a:t>
          </a:r>
        </a:p>
        <a:p>
          <a:r>
            <a:rPr lang="en-US" sz="1800" u="sng" dirty="0"/>
            <a:t>State: </a:t>
          </a:r>
          <a:r>
            <a:rPr lang="en-US" sz="1800" dirty="0"/>
            <a:t>changed laws, policies</a:t>
          </a:r>
        </a:p>
        <a:p>
          <a:endParaRPr lang="en-US" sz="1800" dirty="0"/>
        </a:p>
      </dgm:t>
    </dgm:pt>
    <dgm:pt modelId="{362AF6DE-986D-4C71-BF68-542B1F2933CD}" type="parTrans" cxnId="{6E9EEAB3-5FAC-4531-8FCE-BB4F3EC5C1CE}">
      <dgm:prSet/>
      <dgm:spPr/>
      <dgm:t>
        <a:bodyPr/>
        <a:lstStyle/>
        <a:p>
          <a:endParaRPr lang="en-US"/>
        </a:p>
      </dgm:t>
    </dgm:pt>
    <dgm:pt modelId="{C0164413-8B8B-4E67-B763-90602F9B7322}" type="sibTrans" cxnId="{6E9EEAB3-5FAC-4531-8FCE-BB4F3EC5C1CE}">
      <dgm:prSet/>
      <dgm:spPr/>
      <dgm:t>
        <a:bodyPr/>
        <a:lstStyle/>
        <a:p>
          <a:endParaRPr lang="en-US"/>
        </a:p>
      </dgm:t>
    </dgm:pt>
    <dgm:pt modelId="{3C93A9FC-C51B-4E79-ADC8-D3413540A262}">
      <dgm:prSet phldrT="[Text]" custT="1"/>
      <dgm:spPr/>
      <dgm:t>
        <a:bodyPr/>
        <a:lstStyle/>
        <a:p>
          <a:r>
            <a:rPr lang="en-US" sz="2400" b="1" dirty="0"/>
            <a:t>Impact</a:t>
          </a:r>
        </a:p>
        <a:p>
          <a:r>
            <a:rPr lang="en-US" sz="2400" b="1" dirty="0"/>
            <a:t>(Social change)</a:t>
          </a:r>
        </a:p>
        <a:p>
          <a:r>
            <a:rPr lang="en-US" sz="1800" dirty="0"/>
            <a:t>Changed behavior and attitudes</a:t>
          </a:r>
        </a:p>
        <a:p>
          <a:r>
            <a:rPr lang="en-US" sz="1800" dirty="0"/>
            <a:t>Alleviation of poverty and inequality</a:t>
          </a:r>
        </a:p>
        <a:p>
          <a:r>
            <a:rPr lang="en-US" sz="1800" dirty="0"/>
            <a:t>Enhancing research excellence</a:t>
          </a:r>
        </a:p>
        <a:p>
          <a:endParaRPr lang="en-US" sz="1200" dirty="0"/>
        </a:p>
      </dgm:t>
    </dgm:pt>
    <dgm:pt modelId="{228EA017-2D3E-4AD5-B3D9-ECE8BFDB8275}" type="parTrans" cxnId="{DDFACC8D-668F-49FE-B051-B6AE7FEDF567}">
      <dgm:prSet/>
      <dgm:spPr/>
      <dgm:t>
        <a:bodyPr/>
        <a:lstStyle/>
        <a:p>
          <a:endParaRPr lang="en-US"/>
        </a:p>
      </dgm:t>
    </dgm:pt>
    <dgm:pt modelId="{74BE1133-6E12-431B-B947-A37517C3E1F4}" type="sibTrans" cxnId="{DDFACC8D-668F-49FE-B051-B6AE7FEDF567}">
      <dgm:prSet/>
      <dgm:spPr/>
      <dgm:t>
        <a:bodyPr/>
        <a:lstStyle/>
        <a:p>
          <a:endParaRPr lang="en-US"/>
        </a:p>
      </dgm:t>
    </dgm:pt>
    <dgm:pt modelId="{06326157-F87B-49A0-903E-CE132745E654}" type="pres">
      <dgm:prSet presAssocID="{D24D47B9-03A2-49B2-B46B-CA13B7C72CAA}" presName="CompostProcess" presStyleCnt="0">
        <dgm:presLayoutVars>
          <dgm:dir/>
          <dgm:resizeHandles val="exact"/>
        </dgm:presLayoutVars>
      </dgm:prSet>
      <dgm:spPr/>
    </dgm:pt>
    <dgm:pt modelId="{3EF6F314-28EF-4C5E-8CB2-4F29DC9F7370}" type="pres">
      <dgm:prSet presAssocID="{D24D47B9-03A2-49B2-B46B-CA13B7C72CAA}" presName="arrow" presStyleLbl="bgShp" presStyleIdx="0" presStyleCnt="1"/>
      <dgm:spPr/>
    </dgm:pt>
    <dgm:pt modelId="{16079643-178A-40A5-9FC1-8B792EB232A6}" type="pres">
      <dgm:prSet presAssocID="{D24D47B9-03A2-49B2-B46B-CA13B7C72CAA}" presName="linearProcess" presStyleCnt="0"/>
      <dgm:spPr/>
    </dgm:pt>
    <dgm:pt modelId="{6DE47E02-5AC2-4A2F-9BB2-72B7F64F2914}" type="pres">
      <dgm:prSet presAssocID="{F111494F-1BB5-4F19-985E-19F21874F71B}" presName="textNode" presStyleLbl="node1" presStyleIdx="0" presStyleCnt="3" custScaleX="50255">
        <dgm:presLayoutVars>
          <dgm:bulletEnabled val="1"/>
        </dgm:presLayoutVars>
      </dgm:prSet>
      <dgm:spPr/>
    </dgm:pt>
    <dgm:pt modelId="{94CB7AB3-F625-41AC-809F-06770291218B}" type="pres">
      <dgm:prSet presAssocID="{3757143F-DC70-4A55-80E9-01E23CB8CD4F}" presName="sibTrans" presStyleCnt="0"/>
      <dgm:spPr/>
    </dgm:pt>
    <dgm:pt modelId="{F7E095B7-D92D-4B17-A16A-286570F38774}" type="pres">
      <dgm:prSet presAssocID="{B408C9C9-FB68-4973-8A8F-C2E82D6ACBE1}" presName="textNode" presStyleLbl="node1" presStyleIdx="1" presStyleCnt="3" custScaleX="89897" custScaleY="150510">
        <dgm:presLayoutVars>
          <dgm:bulletEnabled val="1"/>
        </dgm:presLayoutVars>
      </dgm:prSet>
      <dgm:spPr/>
    </dgm:pt>
    <dgm:pt modelId="{1236A8DD-2C92-4F68-A9B6-C1C46274E400}" type="pres">
      <dgm:prSet presAssocID="{C0164413-8B8B-4E67-B763-90602F9B7322}" presName="sibTrans" presStyleCnt="0"/>
      <dgm:spPr/>
    </dgm:pt>
    <dgm:pt modelId="{DC28C630-15C4-441A-928E-5953AA09DC6B}" type="pres">
      <dgm:prSet presAssocID="{3C93A9FC-C51B-4E79-ADC8-D3413540A262}" presName="textNode" presStyleLbl="node1" presStyleIdx="2" presStyleCnt="3" custScaleX="84237" custScaleY="178571">
        <dgm:presLayoutVars>
          <dgm:bulletEnabled val="1"/>
        </dgm:presLayoutVars>
      </dgm:prSet>
      <dgm:spPr/>
    </dgm:pt>
  </dgm:ptLst>
  <dgm:cxnLst>
    <dgm:cxn modelId="{1429E534-AD40-4CB8-A667-E87B4D2C6408}" type="presOf" srcId="{D24D47B9-03A2-49B2-B46B-CA13B7C72CAA}" destId="{06326157-F87B-49A0-903E-CE132745E654}" srcOrd="0" destOrd="0" presId="urn:microsoft.com/office/officeart/2005/8/layout/hProcess9"/>
    <dgm:cxn modelId="{7B53B45D-3A36-4176-9089-912D22AE8CBB}" type="presOf" srcId="{B408C9C9-FB68-4973-8A8F-C2E82D6ACBE1}" destId="{F7E095B7-D92D-4B17-A16A-286570F38774}" srcOrd="0" destOrd="0" presId="urn:microsoft.com/office/officeart/2005/8/layout/hProcess9"/>
    <dgm:cxn modelId="{CDB7A16B-83B3-4C32-AA3C-28D483702C9D}" type="presOf" srcId="{3C93A9FC-C51B-4E79-ADC8-D3413540A262}" destId="{DC28C630-15C4-441A-928E-5953AA09DC6B}" srcOrd="0" destOrd="0" presId="urn:microsoft.com/office/officeart/2005/8/layout/hProcess9"/>
    <dgm:cxn modelId="{DDFACC8D-668F-49FE-B051-B6AE7FEDF567}" srcId="{D24D47B9-03A2-49B2-B46B-CA13B7C72CAA}" destId="{3C93A9FC-C51B-4E79-ADC8-D3413540A262}" srcOrd="2" destOrd="0" parTransId="{228EA017-2D3E-4AD5-B3D9-ECE8BFDB8275}" sibTransId="{74BE1133-6E12-431B-B947-A37517C3E1F4}"/>
    <dgm:cxn modelId="{3935C096-FB3B-4781-9C71-3DF3783696CC}" type="presOf" srcId="{F111494F-1BB5-4F19-985E-19F21874F71B}" destId="{6DE47E02-5AC2-4A2F-9BB2-72B7F64F2914}" srcOrd="0" destOrd="0" presId="urn:microsoft.com/office/officeart/2005/8/layout/hProcess9"/>
    <dgm:cxn modelId="{539A18AB-8918-4605-8D48-4788FC5E6896}" srcId="{D24D47B9-03A2-49B2-B46B-CA13B7C72CAA}" destId="{F111494F-1BB5-4F19-985E-19F21874F71B}" srcOrd="0" destOrd="0" parTransId="{1984836D-5AD4-4034-BF93-528629483D1F}" sibTransId="{3757143F-DC70-4A55-80E9-01E23CB8CD4F}"/>
    <dgm:cxn modelId="{6E9EEAB3-5FAC-4531-8FCE-BB4F3EC5C1CE}" srcId="{D24D47B9-03A2-49B2-B46B-CA13B7C72CAA}" destId="{B408C9C9-FB68-4973-8A8F-C2E82D6ACBE1}" srcOrd="1" destOrd="0" parTransId="{362AF6DE-986D-4C71-BF68-542B1F2933CD}" sibTransId="{C0164413-8B8B-4E67-B763-90602F9B7322}"/>
    <dgm:cxn modelId="{E9597D1A-F59E-4022-90F4-AEC7F4B437C3}" type="presParOf" srcId="{06326157-F87B-49A0-903E-CE132745E654}" destId="{3EF6F314-28EF-4C5E-8CB2-4F29DC9F7370}" srcOrd="0" destOrd="0" presId="urn:microsoft.com/office/officeart/2005/8/layout/hProcess9"/>
    <dgm:cxn modelId="{61070318-1749-4F77-BCF0-0B18EAF671C5}" type="presParOf" srcId="{06326157-F87B-49A0-903E-CE132745E654}" destId="{16079643-178A-40A5-9FC1-8B792EB232A6}" srcOrd="1" destOrd="0" presId="urn:microsoft.com/office/officeart/2005/8/layout/hProcess9"/>
    <dgm:cxn modelId="{521D68CF-5D90-4DF6-9AB0-F59A982D5805}" type="presParOf" srcId="{16079643-178A-40A5-9FC1-8B792EB232A6}" destId="{6DE47E02-5AC2-4A2F-9BB2-72B7F64F2914}" srcOrd="0" destOrd="0" presId="urn:microsoft.com/office/officeart/2005/8/layout/hProcess9"/>
    <dgm:cxn modelId="{C46FE45C-A365-47FD-986C-5591580CB011}" type="presParOf" srcId="{16079643-178A-40A5-9FC1-8B792EB232A6}" destId="{94CB7AB3-F625-41AC-809F-06770291218B}" srcOrd="1" destOrd="0" presId="urn:microsoft.com/office/officeart/2005/8/layout/hProcess9"/>
    <dgm:cxn modelId="{48C7B678-8C26-4ED2-B155-77121D24202A}" type="presParOf" srcId="{16079643-178A-40A5-9FC1-8B792EB232A6}" destId="{F7E095B7-D92D-4B17-A16A-286570F38774}" srcOrd="2" destOrd="0" presId="urn:microsoft.com/office/officeart/2005/8/layout/hProcess9"/>
    <dgm:cxn modelId="{CE1690B9-3AD9-4981-8D9A-28911B4D9517}" type="presParOf" srcId="{16079643-178A-40A5-9FC1-8B792EB232A6}" destId="{1236A8DD-2C92-4F68-A9B6-C1C46274E400}" srcOrd="3" destOrd="0" presId="urn:microsoft.com/office/officeart/2005/8/layout/hProcess9"/>
    <dgm:cxn modelId="{01C04ECD-E85E-4C54-AB21-7FFEB91F6B1D}" type="presParOf" srcId="{16079643-178A-40A5-9FC1-8B792EB232A6}" destId="{DC28C630-15C4-441A-928E-5953AA09DC6B}"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6DCA13-0E71-4B80-9D54-2D84929153E1}"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B52E66AE-5E77-4775-8C20-D5F893EE1056}">
      <dgm:prSet phldrT="[Text]" custT="1"/>
      <dgm:spPr/>
      <dgm:t>
        <a:bodyPr/>
        <a:lstStyle/>
        <a:p>
          <a:r>
            <a:rPr lang="en-US" sz="1600" dirty="0"/>
            <a:t>Challenging Policy</a:t>
          </a:r>
        </a:p>
      </dgm:t>
    </dgm:pt>
    <dgm:pt modelId="{BBC5C96E-6CA5-4EF5-897C-EA9E508A1849}" type="parTrans" cxnId="{3516227F-E91A-4E2A-9743-AC99882F2C54}">
      <dgm:prSet/>
      <dgm:spPr/>
      <dgm:t>
        <a:bodyPr/>
        <a:lstStyle/>
        <a:p>
          <a:endParaRPr lang="en-US"/>
        </a:p>
      </dgm:t>
    </dgm:pt>
    <dgm:pt modelId="{073C1E56-5C10-4C96-A993-0CB665BE5188}" type="sibTrans" cxnId="{3516227F-E91A-4E2A-9743-AC99882F2C54}">
      <dgm:prSet/>
      <dgm:spPr/>
      <dgm:t>
        <a:bodyPr/>
        <a:lstStyle/>
        <a:p>
          <a:endParaRPr lang="en-US"/>
        </a:p>
      </dgm:t>
    </dgm:pt>
    <dgm:pt modelId="{2FF67E15-8E75-45C1-83C6-74A497A69B80}">
      <dgm:prSet phldrT="[Text]" custT="1"/>
      <dgm:spPr/>
      <dgm:t>
        <a:bodyPr/>
        <a:lstStyle/>
        <a:p>
          <a:r>
            <a:rPr lang="en-US" sz="1600" dirty="0"/>
            <a:t>Empowering resistance</a:t>
          </a:r>
        </a:p>
      </dgm:t>
    </dgm:pt>
    <dgm:pt modelId="{6FA69391-6F44-45BD-B29D-BF6B1CE0673C}" type="parTrans" cxnId="{9E03F100-9B9F-4F66-AFEB-979D5AB4E2F4}">
      <dgm:prSet/>
      <dgm:spPr/>
      <dgm:t>
        <a:bodyPr/>
        <a:lstStyle/>
        <a:p>
          <a:endParaRPr lang="en-US"/>
        </a:p>
      </dgm:t>
    </dgm:pt>
    <dgm:pt modelId="{8325781C-AF69-43B1-8E91-8D5AA6CC998A}" type="sibTrans" cxnId="{9E03F100-9B9F-4F66-AFEB-979D5AB4E2F4}">
      <dgm:prSet/>
      <dgm:spPr/>
      <dgm:t>
        <a:bodyPr/>
        <a:lstStyle/>
        <a:p>
          <a:endParaRPr lang="en-US"/>
        </a:p>
      </dgm:t>
    </dgm:pt>
    <dgm:pt modelId="{AE5B645E-80FF-4195-95E9-A82F290086BB}">
      <dgm:prSet phldrT="[Text]"/>
      <dgm:spPr/>
      <dgm:t>
        <a:bodyPr/>
        <a:lstStyle/>
        <a:p>
          <a:r>
            <a:rPr lang="en-US" dirty="0"/>
            <a:t>Platforming </a:t>
          </a:r>
          <a:r>
            <a:rPr lang="en-US" dirty="0" err="1"/>
            <a:t>marginalised</a:t>
          </a:r>
          <a:r>
            <a:rPr lang="en-US" dirty="0"/>
            <a:t> voices</a:t>
          </a:r>
        </a:p>
      </dgm:t>
    </dgm:pt>
    <dgm:pt modelId="{3328CC3F-A1F1-4545-92C9-F96A9D0FC1A4}" type="parTrans" cxnId="{A9F099E4-EADB-4607-8D0F-3363CE6544B9}">
      <dgm:prSet/>
      <dgm:spPr/>
      <dgm:t>
        <a:bodyPr/>
        <a:lstStyle/>
        <a:p>
          <a:endParaRPr lang="en-US"/>
        </a:p>
      </dgm:t>
    </dgm:pt>
    <dgm:pt modelId="{A4E52BA5-6A9F-46C0-8766-BAF0A01C9E7F}" type="sibTrans" cxnId="{A9F099E4-EADB-4607-8D0F-3363CE6544B9}">
      <dgm:prSet/>
      <dgm:spPr/>
      <dgm:t>
        <a:bodyPr/>
        <a:lstStyle/>
        <a:p>
          <a:endParaRPr lang="en-US"/>
        </a:p>
      </dgm:t>
    </dgm:pt>
    <dgm:pt modelId="{E5AD3EF0-6D0C-4E2A-B21E-AF8F4DEC2B69}">
      <dgm:prSet phldrT="[Text]"/>
      <dgm:spPr/>
      <dgm:t>
        <a:bodyPr/>
        <a:lstStyle/>
        <a:p>
          <a:r>
            <a:rPr lang="en-US" dirty="0"/>
            <a:t>Supporting new critical publics</a:t>
          </a:r>
        </a:p>
      </dgm:t>
    </dgm:pt>
    <dgm:pt modelId="{09221D98-E973-4CFD-83D3-3C0B108CC270}" type="parTrans" cxnId="{C939FB37-0595-4B6C-9173-C5A745E91F18}">
      <dgm:prSet/>
      <dgm:spPr/>
      <dgm:t>
        <a:bodyPr/>
        <a:lstStyle/>
        <a:p>
          <a:endParaRPr lang="en-US"/>
        </a:p>
      </dgm:t>
    </dgm:pt>
    <dgm:pt modelId="{39842D13-665E-4150-BFE6-DC30ACDD52C5}" type="sibTrans" cxnId="{C939FB37-0595-4B6C-9173-C5A745E91F18}">
      <dgm:prSet/>
      <dgm:spPr/>
      <dgm:t>
        <a:bodyPr/>
        <a:lstStyle/>
        <a:p>
          <a:endParaRPr lang="en-US"/>
        </a:p>
      </dgm:t>
    </dgm:pt>
    <dgm:pt modelId="{3F2F6873-7FCE-4D04-BE30-4C1CEA53AC14}">
      <dgm:prSet custT="1"/>
      <dgm:spPr/>
      <dgm:t>
        <a:bodyPr/>
        <a:lstStyle/>
        <a:p>
          <a:r>
            <a:rPr lang="en-US" sz="1600" dirty="0"/>
            <a:t>Critical analysis of socially inequitable impact of policies</a:t>
          </a:r>
        </a:p>
      </dgm:t>
    </dgm:pt>
    <dgm:pt modelId="{2B596E53-C2A8-42CF-8319-3B0F8C4A4917}" type="parTrans" cxnId="{DA4A7C12-DEDE-48F9-9CFE-984BCCF0A142}">
      <dgm:prSet/>
      <dgm:spPr/>
      <dgm:t>
        <a:bodyPr/>
        <a:lstStyle/>
        <a:p>
          <a:endParaRPr lang="en-US"/>
        </a:p>
      </dgm:t>
    </dgm:pt>
    <dgm:pt modelId="{FD15045B-20D2-4C53-9F16-612FD40DC632}" type="sibTrans" cxnId="{DA4A7C12-DEDE-48F9-9CFE-984BCCF0A142}">
      <dgm:prSet/>
      <dgm:spPr/>
      <dgm:t>
        <a:bodyPr/>
        <a:lstStyle/>
        <a:p>
          <a:endParaRPr lang="en-US"/>
        </a:p>
      </dgm:t>
    </dgm:pt>
    <dgm:pt modelId="{656E53EE-E97F-4D45-80D9-E2840714A238}">
      <dgm:prSet custT="1"/>
      <dgm:spPr/>
      <dgm:t>
        <a:bodyPr/>
        <a:lstStyle/>
        <a:p>
          <a:r>
            <a:rPr lang="en-US" sz="1600" dirty="0"/>
            <a:t>Supporting knowledge, networks and other tools for </a:t>
          </a:r>
          <a:r>
            <a:rPr lang="en-US" sz="1600" dirty="0" err="1"/>
            <a:t>organising</a:t>
          </a:r>
          <a:r>
            <a:rPr lang="en-US" sz="1600" dirty="0"/>
            <a:t> resistance</a:t>
          </a:r>
        </a:p>
      </dgm:t>
    </dgm:pt>
    <dgm:pt modelId="{5BA54B13-2E75-4DFD-86A9-10D2D24323BB}" type="parTrans" cxnId="{E5BA7917-32F7-40CD-9935-849A67751EB6}">
      <dgm:prSet/>
      <dgm:spPr/>
      <dgm:t>
        <a:bodyPr/>
        <a:lstStyle/>
        <a:p>
          <a:endParaRPr lang="en-US"/>
        </a:p>
      </dgm:t>
    </dgm:pt>
    <dgm:pt modelId="{C30FB831-FFD1-408C-B56B-6CDD08809C1C}" type="sibTrans" cxnId="{E5BA7917-32F7-40CD-9935-849A67751EB6}">
      <dgm:prSet/>
      <dgm:spPr/>
      <dgm:t>
        <a:bodyPr/>
        <a:lstStyle/>
        <a:p>
          <a:endParaRPr lang="en-US"/>
        </a:p>
      </dgm:t>
    </dgm:pt>
    <dgm:pt modelId="{ABAD0274-A9EC-4870-9015-AFDA102EBCD2}">
      <dgm:prSet/>
      <dgm:spPr/>
      <dgm:t>
        <a:bodyPr/>
        <a:lstStyle/>
        <a:p>
          <a:r>
            <a:rPr lang="en-US" dirty="0"/>
            <a:t>Listening, supporting, representing and </a:t>
          </a:r>
          <a:r>
            <a:rPr lang="en-US" dirty="0" err="1"/>
            <a:t>mobilising</a:t>
          </a:r>
          <a:r>
            <a:rPr lang="en-US" dirty="0"/>
            <a:t> </a:t>
          </a:r>
          <a:r>
            <a:rPr lang="en-US" dirty="0" err="1"/>
            <a:t>marginalised</a:t>
          </a:r>
          <a:r>
            <a:rPr lang="en-US" dirty="0"/>
            <a:t> voices</a:t>
          </a:r>
        </a:p>
      </dgm:t>
    </dgm:pt>
    <dgm:pt modelId="{424900F5-6990-47B7-AFB0-AA4A14B07C62}" type="parTrans" cxnId="{B6B80350-7A00-48FF-82BE-AD1052F7F07F}">
      <dgm:prSet/>
      <dgm:spPr/>
      <dgm:t>
        <a:bodyPr/>
        <a:lstStyle/>
        <a:p>
          <a:endParaRPr lang="en-US"/>
        </a:p>
      </dgm:t>
    </dgm:pt>
    <dgm:pt modelId="{08FA50A3-67BD-4636-9B1D-6E1BAABA1D83}" type="sibTrans" cxnId="{B6B80350-7A00-48FF-82BE-AD1052F7F07F}">
      <dgm:prSet/>
      <dgm:spPr/>
      <dgm:t>
        <a:bodyPr/>
        <a:lstStyle/>
        <a:p>
          <a:endParaRPr lang="en-US"/>
        </a:p>
      </dgm:t>
    </dgm:pt>
    <dgm:pt modelId="{28499299-9AAF-4686-B672-8A1AB19942B1}">
      <dgm:prSet/>
      <dgm:spPr/>
      <dgm:t>
        <a:bodyPr/>
        <a:lstStyle/>
        <a:p>
          <a:r>
            <a:rPr lang="en-US" dirty="0"/>
            <a:t>Inspiring new critical skills and new forms of public engagement </a:t>
          </a:r>
        </a:p>
      </dgm:t>
    </dgm:pt>
    <dgm:pt modelId="{461D7257-39E8-41D2-859E-775EB87A14A5}" type="parTrans" cxnId="{E05BD331-E82C-4109-B724-08CDCE666F6C}">
      <dgm:prSet/>
      <dgm:spPr/>
      <dgm:t>
        <a:bodyPr/>
        <a:lstStyle/>
        <a:p>
          <a:endParaRPr lang="en-US"/>
        </a:p>
      </dgm:t>
    </dgm:pt>
    <dgm:pt modelId="{892B1DD6-C758-43D3-A5D6-89EA824FA7B5}" type="sibTrans" cxnId="{E05BD331-E82C-4109-B724-08CDCE666F6C}">
      <dgm:prSet/>
      <dgm:spPr/>
      <dgm:t>
        <a:bodyPr/>
        <a:lstStyle/>
        <a:p>
          <a:endParaRPr lang="en-US"/>
        </a:p>
      </dgm:t>
    </dgm:pt>
    <dgm:pt modelId="{D8F4FD62-4E50-4732-968B-039254734551}" type="pres">
      <dgm:prSet presAssocID="{716DCA13-0E71-4B80-9D54-2D84929153E1}" presName="diagram" presStyleCnt="0">
        <dgm:presLayoutVars>
          <dgm:dir/>
          <dgm:resizeHandles val="exact"/>
        </dgm:presLayoutVars>
      </dgm:prSet>
      <dgm:spPr/>
    </dgm:pt>
    <dgm:pt modelId="{D1CDF6C2-BB4E-42B0-8C58-87C5FC1A4E8E}" type="pres">
      <dgm:prSet presAssocID="{B52E66AE-5E77-4775-8C20-D5F893EE1056}" presName="node" presStyleLbl="node1" presStyleIdx="0" presStyleCnt="4" custLinFactNeighborY="3902">
        <dgm:presLayoutVars>
          <dgm:bulletEnabled val="1"/>
        </dgm:presLayoutVars>
      </dgm:prSet>
      <dgm:spPr/>
    </dgm:pt>
    <dgm:pt modelId="{39E9ACDB-59EF-4B1C-927B-03A537777C19}" type="pres">
      <dgm:prSet presAssocID="{073C1E56-5C10-4C96-A993-0CB665BE5188}" presName="sibTrans" presStyleCnt="0"/>
      <dgm:spPr/>
    </dgm:pt>
    <dgm:pt modelId="{BCBD0469-3891-4DE6-A800-0FB2979504C4}" type="pres">
      <dgm:prSet presAssocID="{2FF67E15-8E75-45C1-83C6-74A497A69B80}" presName="node" presStyleLbl="node1" presStyleIdx="1" presStyleCnt="4">
        <dgm:presLayoutVars>
          <dgm:bulletEnabled val="1"/>
        </dgm:presLayoutVars>
      </dgm:prSet>
      <dgm:spPr/>
    </dgm:pt>
    <dgm:pt modelId="{245DD775-E1FC-4FC8-807A-34B44C760C1D}" type="pres">
      <dgm:prSet presAssocID="{8325781C-AF69-43B1-8E91-8D5AA6CC998A}" presName="sibTrans" presStyleCnt="0"/>
      <dgm:spPr/>
    </dgm:pt>
    <dgm:pt modelId="{A64E5AAB-ECA4-454F-9197-D919155AB6CF}" type="pres">
      <dgm:prSet presAssocID="{AE5B645E-80FF-4195-95E9-A82F290086BB}" presName="node" presStyleLbl="node1" presStyleIdx="2" presStyleCnt="4">
        <dgm:presLayoutVars>
          <dgm:bulletEnabled val="1"/>
        </dgm:presLayoutVars>
      </dgm:prSet>
      <dgm:spPr/>
    </dgm:pt>
    <dgm:pt modelId="{00E35CDA-5BAC-4333-A83B-38B0D7874F6C}" type="pres">
      <dgm:prSet presAssocID="{A4E52BA5-6A9F-46C0-8766-BAF0A01C9E7F}" presName="sibTrans" presStyleCnt="0"/>
      <dgm:spPr/>
    </dgm:pt>
    <dgm:pt modelId="{85112FA3-68D1-4BC1-A142-D17728DD469B}" type="pres">
      <dgm:prSet presAssocID="{E5AD3EF0-6D0C-4E2A-B21E-AF8F4DEC2B69}" presName="node" presStyleLbl="node1" presStyleIdx="3" presStyleCnt="4">
        <dgm:presLayoutVars>
          <dgm:bulletEnabled val="1"/>
        </dgm:presLayoutVars>
      </dgm:prSet>
      <dgm:spPr/>
    </dgm:pt>
  </dgm:ptLst>
  <dgm:cxnLst>
    <dgm:cxn modelId="{9E03F100-9B9F-4F66-AFEB-979D5AB4E2F4}" srcId="{716DCA13-0E71-4B80-9D54-2D84929153E1}" destId="{2FF67E15-8E75-45C1-83C6-74A497A69B80}" srcOrd="1" destOrd="0" parTransId="{6FA69391-6F44-45BD-B29D-BF6B1CE0673C}" sibTransId="{8325781C-AF69-43B1-8E91-8D5AA6CC998A}"/>
    <dgm:cxn modelId="{DA4A7C12-DEDE-48F9-9CFE-984BCCF0A142}" srcId="{B52E66AE-5E77-4775-8C20-D5F893EE1056}" destId="{3F2F6873-7FCE-4D04-BE30-4C1CEA53AC14}" srcOrd="0" destOrd="0" parTransId="{2B596E53-C2A8-42CF-8319-3B0F8C4A4917}" sibTransId="{FD15045B-20D2-4C53-9F16-612FD40DC632}"/>
    <dgm:cxn modelId="{E5BA7917-32F7-40CD-9935-849A67751EB6}" srcId="{2FF67E15-8E75-45C1-83C6-74A497A69B80}" destId="{656E53EE-E97F-4D45-80D9-E2840714A238}" srcOrd="0" destOrd="0" parTransId="{5BA54B13-2E75-4DFD-86A9-10D2D24323BB}" sibTransId="{C30FB831-FFD1-408C-B56B-6CDD08809C1C}"/>
    <dgm:cxn modelId="{E05BD331-E82C-4109-B724-08CDCE666F6C}" srcId="{E5AD3EF0-6D0C-4E2A-B21E-AF8F4DEC2B69}" destId="{28499299-9AAF-4686-B672-8A1AB19942B1}" srcOrd="0" destOrd="0" parTransId="{461D7257-39E8-41D2-859E-775EB87A14A5}" sibTransId="{892B1DD6-C758-43D3-A5D6-89EA824FA7B5}"/>
    <dgm:cxn modelId="{C939FB37-0595-4B6C-9173-C5A745E91F18}" srcId="{716DCA13-0E71-4B80-9D54-2D84929153E1}" destId="{E5AD3EF0-6D0C-4E2A-B21E-AF8F4DEC2B69}" srcOrd="3" destOrd="0" parTransId="{09221D98-E973-4CFD-83D3-3C0B108CC270}" sibTransId="{39842D13-665E-4150-BFE6-DC30ACDD52C5}"/>
    <dgm:cxn modelId="{66F5575C-2434-471E-A580-32BB0F7DA5F3}" type="presOf" srcId="{656E53EE-E97F-4D45-80D9-E2840714A238}" destId="{BCBD0469-3891-4DE6-A800-0FB2979504C4}" srcOrd="0" destOrd="1" presId="urn:microsoft.com/office/officeart/2005/8/layout/default"/>
    <dgm:cxn modelId="{570B3D61-3D90-4DA8-9AD3-5A67ABA9EC12}" type="presOf" srcId="{3F2F6873-7FCE-4D04-BE30-4C1CEA53AC14}" destId="{D1CDF6C2-BB4E-42B0-8C58-87C5FC1A4E8E}" srcOrd="0" destOrd="1" presId="urn:microsoft.com/office/officeart/2005/8/layout/default"/>
    <dgm:cxn modelId="{0F59FD61-EA50-4047-85A2-87140CEE66ED}" type="presOf" srcId="{2FF67E15-8E75-45C1-83C6-74A497A69B80}" destId="{BCBD0469-3891-4DE6-A800-0FB2979504C4}" srcOrd="0" destOrd="0" presId="urn:microsoft.com/office/officeart/2005/8/layout/default"/>
    <dgm:cxn modelId="{CA31254A-83FD-4ABB-B92C-92B3ED049F16}" type="presOf" srcId="{ABAD0274-A9EC-4870-9015-AFDA102EBCD2}" destId="{A64E5AAB-ECA4-454F-9197-D919155AB6CF}" srcOrd="0" destOrd="1" presId="urn:microsoft.com/office/officeart/2005/8/layout/default"/>
    <dgm:cxn modelId="{B6B80350-7A00-48FF-82BE-AD1052F7F07F}" srcId="{AE5B645E-80FF-4195-95E9-A82F290086BB}" destId="{ABAD0274-A9EC-4870-9015-AFDA102EBCD2}" srcOrd="0" destOrd="0" parTransId="{424900F5-6990-47B7-AFB0-AA4A14B07C62}" sibTransId="{08FA50A3-67BD-4636-9B1D-6E1BAABA1D83}"/>
    <dgm:cxn modelId="{51C30679-CFED-488D-8042-B9AB0ADFF0BF}" type="presOf" srcId="{AE5B645E-80FF-4195-95E9-A82F290086BB}" destId="{A64E5AAB-ECA4-454F-9197-D919155AB6CF}" srcOrd="0" destOrd="0" presId="urn:microsoft.com/office/officeart/2005/8/layout/default"/>
    <dgm:cxn modelId="{3516227F-E91A-4E2A-9743-AC99882F2C54}" srcId="{716DCA13-0E71-4B80-9D54-2D84929153E1}" destId="{B52E66AE-5E77-4775-8C20-D5F893EE1056}" srcOrd="0" destOrd="0" parTransId="{BBC5C96E-6CA5-4EF5-897C-EA9E508A1849}" sibTransId="{073C1E56-5C10-4C96-A993-0CB665BE5188}"/>
    <dgm:cxn modelId="{E7F41096-63D4-49A7-8140-A2518693AB7C}" type="presOf" srcId="{28499299-9AAF-4686-B672-8A1AB19942B1}" destId="{85112FA3-68D1-4BC1-A142-D17728DD469B}" srcOrd="0" destOrd="1" presId="urn:microsoft.com/office/officeart/2005/8/layout/default"/>
    <dgm:cxn modelId="{E0DE36D1-899F-4BF6-B0A9-6D6DE509A96B}" type="presOf" srcId="{B52E66AE-5E77-4775-8C20-D5F893EE1056}" destId="{D1CDF6C2-BB4E-42B0-8C58-87C5FC1A4E8E}" srcOrd="0" destOrd="0" presId="urn:microsoft.com/office/officeart/2005/8/layout/default"/>
    <dgm:cxn modelId="{A9F099E4-EADB-4607-8D0F-3363CE6544B9}" srcId="{716DCA13-0E71-4B80-9D54-2D84929153E1}" destId="{AE5B645E-80FF-4195-95E9-A82F290086BB}" srcOrd="2" destOrd="0" parTransId="{3328CC3F-A1F1-4545-92C9-F96A9D0FC1A4}" sibTransId="{A4E52BA5-6A9F-46C0-8766-BAF0A01C9E7F}"/>
    <dgm:cxn modelId="{2EC4F1F3-C3FE-4106-B7F3-23F329D10C69}" type="presOf" srcId="{716DCA13-0E71-4B80-9D54-2D84929153E1}" destId="{D8F4FD62-4E50-4732-968B-039254734551}" srcOrd="0" destOrd="0" presId="urn:microsoft.com/office/officeart/2005/8/layout/default"/>
    <dgm:cxn modelId="{055576F5-2C75-4AAE-8C13-6B93CE613527}" type="presOf" srcId="{E5AD3EF0-6D0C-4E2A-B21E-AF8F4DEC2B69}" destId="{85112FA3-68D1-4BC1-A142-D17728DD469B}" srcOrd="0" destOrd="0" presId="urn:microsoft.com/office/officeart/2005/8/layout/default"/>
    <dgm:cxn modelId="{7A299231-84A5-497C-85F7-6E6EE2CDC9C9}" type="presParOf" srcId="{D8F4FD62-4E50-4732-968B-039254734551}" destId="{D1CDF6C2-BB4E-42B0-8C58-87C5FC1A4E8E}" srcOrd="0" destOrd="0" presId="urn:microsoft.com/office/officeart/2005/8/layout/default"/>
    <dgm:cxn modelId="{1D2A5C30-3A5A-4E4A-B08C-46867EC33E4E}" type="presParOf" srcId="{D8F4FD62-4E50-4732-968B-039254734551}" destId="{39E9ACDB-59EF-4B1C-927B-03A537777C19}" srcOrd="1" destOrd="0" presId="urn:microsoft.com/office/officeart/2005/8/layout/default"/>
    <dgm:cxn modelId="{E546D715-0B50-434B-9A31-DDA6363EFC65}" type="presParOf" srcId="{D8F4FD62-4E50-4732-968B-039254734551}" destId="{BCBD0469-3891-4DE6-A800-0FB2979504C4}" srcOrd="2" destOrd="0" presId="urn:microsoft.com/office/officeart/2005/8/layout/default"/>
    <dgm:cxn modelId="{2CCCDF9B-6E46-4467-BCE9-E3770E4DAF10}" type="presParOf" srcId="{D8F4FD62-4E50-4732-968B-039254734551}" destId="{245DD775-E1FC-4FC8-807A-34B44C760C1D}" srcOrd="3" destOrd="0" presId="urn:microsoft.com/office/officeart/2005/8/layout/default"/>
    <dgm:cxn modelId="{75F689BE-155D-4CB0-9822-A18CA4236E5C}" type="presParOf" srcId="{D8F4FD62-4E50-4732-968B-039254734551}" destId="{A64E5AAB-ECA4-454F-9197-D919155AB6CF}" srcOrd="4" destOrd="0" presId="urn:microsoft.com/office/officeart/2005/8/layout/default"/>
    <dgm:cxn modelId="{B1C72589-FE1E-40C8-9154-7659A655679B}" type="presParOf" srcId="{D8F4FD62-4E50-4732-968B-039254734551}" destId="{00E35CDA-5BAC-4333-A83B-38B0D7874F6C}" srcOrd="5" destOrd="0" presId="urn:microsoft.com/office/officeart/2005/8/layout/default"/>
    <dgm:cxn modelId="{16EB638E-71A9-4D46-991F-4CC2067261F5}" type="presParOf" srcId="{D8F4FD62-4E50-4732-968B-039254734551}" destId="{85112FA3-68D1-4BC1-A142-D17728DD469B}"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CBED6B0-F6C9-42DC-97C6-4187B7861DF3}" type="doc">
      <dgm:prSet loTypeId="urn:microsoft.com/office/officeart/2005/8/layout/StepDownProcess" loCatId="process" qsTypeId="urn:microsoft.com/office/officeart/2005/8/quickstyle/simple1" qsCatId="simple" csTypeId="urn:microsoft.com/office/officeart/2005/8/colors/accent1_2" csCatId="accent1" phldr="1"/>
      <dgm:spPr/>
      <dgm:t>
        <a:bodyPr/>
        <a:lstStyle/>
        <a:p>
          <a:endParaRPr lang="en-US"/>
        </a:p>
      </dgm:t>
    </dgm:pt>
    <dgm:pt modelId="{256ABA14-492C-4FDE-8782-99BD46249572}">
      <dgm:prSet phldrT="[Text]"/>
      <dgm:spPr/>
      <dgm:t>
        <a:bodyPr/>
        <a:lstStyle/>
        <a:p>
          <a:r>
            <a:rPr lang="en-US" dirty="0"/>
            <a:t>Impact: social change</a:t>
          </a:r>
        </a:p>
      </dgm:t>
    </dgm:pt>
    <dgm:pt modelId="{6970E727-FD3A-406C-A971-BBF63658C95F}" type="parTrans" cxnId="{A0B725B5-5166-454B-B774-38721890EC47}">
      <dgm:prSet/>
      <dgm:spPr/>
      <dgm:t>
        <a:bodyPr/>
        <a:lstStyle/>
        <a:p>
          <a:endParaRPr lang="en-US"/>
        </a:p>
      </dgm:t>
    </dgm:pt>
    <dgm:pt modelId="{012F7335-B937-4FA5-88CF-7D981179C0A1}" type="sibTrans" cxnId="{A0B725B5-5166-454B-B774-38721890EC47}">
      <dgm:prSet/>
      <dgm:spPr/>
      <dgm:t>
        <a:bodyPr/>
        <a:lstStyle/>
        <a:p>
          <a:endParaRPr lang="en-US"/>
        </a:p>
      </dgm:t>
    </dgm:pt>
    <dgm:pt modelId="{75A8BDE2-8832-44B1-802F-2AF49C2C8833}">
      <dgm:prSet phldrT="[Text]" custT="1"/>
      <dgm:spPr/>
      <dgm:t>
        <a:bodyPr/>
        <a:lstStyle/>
        <a:p>
          <a:r>
            <a:rPr lang="en-US" sz="1600" dirty="0">
              <a:solidFill>
                <a:schemeClr val="bg1"/>
              </a:solidFill>
            </a:rPr>
            <a:t>What are the social issues and critical challenges that require new ideas and new knowledge? </a:t>
          </a:r>
        </a:p>
      </dgm:t>
    </dgm:pt>
    <dgm:pt modelId="{2F39993D-969D-4B8F-A74A-0B9754FDF786}" type="parTrans" cxnId="{5BEA491B-CB55-48E6-8A77-E80C3EC40020}">
      <dgm:prSet/>
      <dgm:spPr/>
      <dgm:t>
        <a:bodyPr/>
        <a:lstStyle/>
        <a:p>
          <a:endParaRPr lang="en-US"/>
        </a:p>
      </dgm:t>
    </dgm:pt>
    <dgm:pt modelId="{6FD70C30-7BC3-4AAB-8999-54B613DABA0D}" type="sibTrans" cxnId="{5BEA491B-CB55-48E6-8A77-E80C3EC40020}">
      <dgm:prSet/>
      <dgm:spPr/>
      <dgm:t>
        <a:bodyPr/>
        <a:lstStyle/>
        <a:p>
          <a:endParaRPr lang="en-US"/>
        </a:p>
      </dgm:t>
    </dgm:pt>
    <dgm:pt modelId="{9A799398-9A53-4838-9394-27380C7F1483}">
      <dgm:prSet phldrT="[Text]"/>
      <dgm:spPr/>
      <dgm:t>
        <a:bodyPr/>
        <a:lstStyle/>
        <a:p>
          <a:r>
            <a:rPr lang="en-US" dirty="0"/>
            <a:t>Impact-driven research methodologies</a:t>
          </a:r>
        </a:p>
      </dgm:t>
    </dgm:pt>
    <dgm:pt modelId="{485F65B0-BCC8-4CB9-A58F-B6A95B228C41}" type="parTrans" cxnId="{276C1170-1F14-44BC-B85D-18F627444360}">
      <dgm:prSet/>
      <dgm:spPr/>
      <dgm:t>
        <a:bodyPr/>
        <a:lstStyle/>
        <a:p>
          <a:endParaRPr lang="en-US"/>
        </a:p>
      </dgm:t>
    </dgm:pt>
    <dgm:pt modelId="{7B490003-B3B1-4275-ABFE-6B57DBC209B3}" type="sibTrans" cxnId="{276C1170-1F14-44BC-B85D-18F627444360}">
      <dgm:prSet/>
      <dgm:spPr/>
      <dgm:t>
        <a:bodyPr/>
        <a:lstStyle/>
        <a:p>
          <a:endParaRPr lang="en-US"/>
        </a:p>
      </dgm:t>
    </dgm:pt>
    <dgm:pt modelId="{610B9480-D952-49F0-880F-DC3662263595}">
      <dgm:prSet phldrT="[Text]" custT="1"/>
      <dgm:spPr/>
      <dgm:t>
        <a:bodyPr/>
        <a:lstStyle/>
        <a:p>
          <a:r>
            <a:rPr lang="en-US" sz="1600" dirty="0">
              <a:solidFill>
                <a:schemeClr val="bg1"/>
              </a:solidFill>
            </a:rPr>
            <a:t>How can we design our research project to affect the change we seek to create? </a:t>
          </a:r>
        </a:p>
      </dgm:t>
    </dgm:pt>
    <dgm:pt modelId="{759A69A5-5E93-4E9D-AEED-75AB4CFD7D86}" type="parTrans" cxnId="{357720C7-84D8-42AC-83B0-DE2880ABD99B}">
      <dgm:prSet/>
      <dgm:spPr/>
      <dgm:t>
        <a:bodyPr/>
        <a:lstStyle/>
        <a:p>
          <a:endParaRPr lang="en-US"/>
        </a:p>
      </dgm:t>
    </dgm:pt>
    <dgm:pt modelId="{95C1D7C3-AB58-4640-9F16-3A90A06573CD}" type="sibTrans" cxnId="{357720C7-84D8-42AC-83B0-DE2880ABD99B}">
      <dgm:prSet/>
      <dgm:spPr/>
      <dgm:t>
        <a:bodyPr/>
        <a:lstStyle/>
        <a:p>
          <a:endParaRPr lang="en-US"/>
        </a:p>
      </dgm:t>
    </dgm:pt>
    <dgm:pt modelId="{714CF463-0B68-4869-A4D9-6194A0B8B57F}">
      <dgm:prSet phldrT="[Text]"/>
      <dgm:spPr/>
      <dgm:t>
        <a:bodyPr/>
        <a:lstStyle/>
        <a:p>
          <a:r>
            <a:rPr lang="en-US" dirty="0"/>
            <a:t>How do we describe what we do and how/if it works?</a:t>
          </a:r>
        </a:p>
      </dgm:t>
    </dgm:pt>
    <dgm:pt modelId="{B105788E-396E-46F4-B54E-A4EE0B11C31A}" type="parTrans" cxnId="{6B6E02B5-488C-482D-AF0F-1FCE8E18EE2B}">
      <dgm:prSet/>
      <dgm:spPr/>
      <dgm:t>
        <a:bodyPr/>
        <a:lstStyle/>
        <a:p>
          <a:endParaRPr lang="en-US"/>
        </a:p>
      </dgm:t>
    </dgm:pt>
    <dgm:pt modelId="{DB0B12DF-AB02-49DF-9699-7CE6F1411E68}" type="sibTrans" cxnId="{6B6E02B5-488C-482D-AF0F-1FCE8E18EE2B}">
      <dgm:prSet/>
      <dgm:spPr/>
      <dgm:t>
        <a:bodyPr/>
        <a:lstStyle/>
        <a:p>
          <a:endParaRPr lang="en-US"/>
        </a:p>
      </dgm:t>
    </dgm:pt>
    <dgm:pt modelId="{44B6F7E7-47CE-4383-9597-7D8EC3AC9AD8}">
      <dgm:prSet phldrT="[Text]" custT="1"/>
      <dgm:spPr/>
      <dgm:t>
        <a:bodyPr/>
        <a:lstStyle/>
        <a:p>
          <a:r>
            <a:rPr lang="en-US" sz="1600" dirty="0">
              <a:solidFill>
                <a:schemeClr val="bg1"/>
              </a:solidFill>
            </a:rPr>
            <a:t>New narratives of science </a:t>
          </a:r>
        </a:p>
      </dgm:t>
    </dgm:pt>
    <dgm:pt modelId="{40328D6A-E1BF-494D-B1D1-A2D6B2284508}" type="parTrans" cxnId="{627456BB-EE80-4085-8D52-D556913F3D22}">
      <dgm:prSet/>
      <dgm:spPr/>
      <dgm:t>
        <a:bodyPr/>
        <a:lstStyle/>
        <a:p>
          <a:endParaRPr lang="en-US"/>
        </a:p>
      </dgm:t>
    </dgm:pt>
    <dgm:pt modelId="{7DFDC044-5566-4139-AE93-8E517A65D63C}" type="sibTrans" cxnId="{627456BB-EE80-4085-8D52-D556913F3D22}">
      <dgm:prSet/>
      <dgm:spPr/>
      <dgm:t>
        <a:bodyPr/>
        <a:lstStyle/>
        <a:p>
          <a:endParaRPr lang="en-US"/>
        </a:p>
      </dgm:t>
    </dgm:pt>
    <dgm:pt modelId="{DF5C1D0E-9EAA-4F4A-8485-39D78C605561}">
      <dgm:prSet phldrT="[Text]" custT="1"/>
      <dgm:spPr/>
      <dgm:t>
        <a:bodyPr/>
        <a:lstStyle/>
        <a:p>
          <a:r>
            <a:rPr lang="en-US" sz="1600" dirty="0">
              <a:solidFill>
                <a:schemeClr val="bg1"/>
              </a:solidFill>
            </a:rPr>
            <a:t>PAR</a:t>
          </a:r>
        </a:p>
      </dgm:t>
    </dgm:pt>
    <dgm:pt modelId="{4101EFBC-1546-4EBA-AA6C-0A9D774899AB}" type="parTrans" cxnId="{431274DF-EEBD-49AC-915B-56ABC828DB70}">
      <dgm:prSet/>
      <dgm:spPr/>
      <dgm:t>
        <a:bodyPr/>
        <a:lstStyle/>
        <a:p>
          <a:endParaRPr lang="en-US"/>
        </a:p>
      </dgm:t>
    </dgm:pt>
    <dgm:pt modelId="{A3FA3D17-392A-4359-BDD8-8DF9684FCDA9}" type="sibTrans" cxnId="{431274DF-EEBD-49AC-915B-56ABC828DB70}">
      <dgm:prSet/>
      <dgm:spPr/>
      <dgm:t>
        <a:bodyPr/>
        <a:lstStyle/>
        <a:p>
          <a:endParaRPr lang="en-US"/>
        </a:p>
      </dgm:t>
    </dgm:pt>
    <dgm:pt modelId="{96F6E6CA-297E-451B-AAF1-FC3CEB064362}">
      <dgm:prSet phldrT="[Text]" custT="1"/>
      <dgm:spPr/>
      <dgm:t>
        <a:bodyPr/>
        <a:lstStyle/>
        <a:p>
          <a:r>
            <a:rPr lang="en-US" sz="1600" dirty="0">
              <a:solidFill>
                <a:schemeClr val="bg1"/>
              </a:solidFill>
            </a:rPr>
            <a:t>Accessible research products</a:t>
          </a:r>
        </a:p>
      </dgm:t>
    </dgm:pt>
    <dgm:pt modelId="{074883BA-D8A3-4AD0-8542-DBADD5042343}" type="parTrans" cxnId="{F60DD3F4-F0DF-40B7-AAAE-2202035CC9D9}">
      <dgm:prSet/>
      <dgm:spPr/>
      <dgm:t>
        <a:bodyPr/>
        <a:lstStyle/>
        <a:p>
          <a:endParaRPr lang="en-US"/>
        </a:p>
      </dgm:t>
    </dgm:pt>
    <dgm:pt modelId="{8FD0E493-9C32-40D6-AB5A-8EEF07082E61}" type="sibTrans" cxnId="{F60DD3F4-F0DF-40B7-AAAE-2202035CC9D9}">
      <dgm:prSet/>
      <dgm:spPr/>
      <dgm:t>
        <a:bodyPr/>
        <a:lstStyle/>
        <a:p>
          <a:endParaRPr lang="en-US"/>
        </a:p>
      </dgm:t>
    </dgm:pt>
    <dgm:pt modelId="{EF2297CF-F76D-4E6C-82C9-1434C4BE85CA}">
      <dgm:prSet phldrT="[Text]" custT="1"/>
      <dgm:spPr/>
      <dgm:t>
        <a:bodyPr/>
        <a:lstStyle/>
        <a:p>
          <a:r>
            <a:rPr lang="en-US" sz="1600" dirty="0">
              <a:solidFill>
                <a:schemeClr val="bg1"/>
              </a:solidFill>
            </a:rPr>
            <a:t>Transparent processes and open data</a:t>
          </a:r>
        </a:p>
      </dgm:t>
    </dgm:pt>
    <dgm:pt modelId="{51C90D0F-75F0-4D95-9BE5-49CCA240B5CD}" type="parTrans" cxnId="{BA7A3CD8-CDFD-4C2B-908D-CAD0A97B0F49}">
      <dgm:prSet/>
      <dgm:spPr/>
      <dgm:t>
        <a:bodyPr/>
        <a:lstStyle/>
        <a:p>
          <a:endParaRPr lang="en-US"/>
        </a:p>
      </dgm:t>
    </dgm:pt>
    <dgm:pt modelId="{2FAAAD08-5273-4A5B-BE43-593E57C48765}" type="sibTrans" cxnId="{BA7A3CD8-CDFD-4C2B-908D-CAD0A97B0F49}">
      <dgm:prSet/>
      <dgm:spPr/>
      <dgm:t>
        <a:bodyPr/>
        <a:lstStyle/>
        <a:p>
          <a:endParaRPr lang="en-US"/>
        </a:p>
      </dgm:t>
    </dgm:pt>
    <dgm:pt modelId="{B4D8E1BB-0882-4BEB-AC42-068A38305978}">
      <dgm:prSet phldrT="[Text]" custT="1"/>
      <dgm:spPr/>
      <dgm:t>
        <a:bodyPr/>
        <a:lstStyle/>
        <a:p>
          <a:r>
            <a:rPr lang="en-US" sz="1600" dirty="0">
              <a:solidFill>
                <a:schemeClr val="bg1"/>
              </a:solidFill>
            </a:rPr>
            <a:t>Dissemination strategies and critical partnerships</a:t>
          </a:r>
        </a:p>
      </dgm:t>
    </dgm:pt>
    <dgm:pt modelId="{3EE456C1-0D91-47BD-AA96-2F000AD07FBF}" type="parTrans" cxnId="{C9ECF15B-80AF-47D8-AE16-34F89B28B5E4}">
      <dgm:prSet/>
      <dgm:spPr/>
      <dgm:t>
        <a:bodyPr/>
        <a:lstStyle/>
        <a:p>
          <a:endParaRPr lang="en-US"/>
        </a:p>
      </dgm:t>
    </dgm:pt>
    <dgm:pt modelId="{FADA1250-6AF7-4162-9109-B07D8A83A111}" type="sibTrans" cxnId="{C9ECF15B-80AF-47D8-AE16-34F89B28B5E4}">
      <dgm:prSet/>
      <dgm:spPr/>
      <dgm:t>
        <a:bodyPr/>
        <a:lstStyle/>
        <a:p>
          <a:endParaRPr lang="en-US"/>
        </a:p>
      </dgm:t>
    </dgm:pt>
    <dgm:pt modelId="{D471A42E-29CA-4D88-BE75-A05215B5B18C}" type="pres">
      <dgm:prSet presAssocID="{6CBED6B0-F6C9-42DC-97C6-4187B7861DF3}" presName="rootnode" presStyleCnt="0">
        <dgm:presLayoutVars>
          <dgm:chMax/>
          <dgm:chPref/>
          <dgm:dir/>
          <dgm:animLvl val="lvl"/>
        </dgm:presLayoutVars>
      </dgm:prSet>
      <dgm:spPr/>
    </dgm:pt>
    <dgm:pt modelId="{90F080D8-E6AC-49A1-8E9F-D9B2CBB80863}" type="pres">
      <dgm:prSet presAssocID="{256ABA14-492C-4FDE-8782-99BD46249572}" presName="composite" presStyleCnt="0"/>
      <dgm:spPr/>
    </dgm:pt>
    <dgm:pt modelId="{D642B54D-B74C-48D6-95AD-BE2DA1DDD2C2}" type="pres">
      <dgm:prSet presAssocID="{256ABA14-492C-4FDE-8782-99BD46249572}" presName="bentUpArrow1" presStyleLbl="alignImgPlace1" presStyleIdx="0" presStyleCnt="2" custLinFactNeighborX="24632" custLinFactNeighborY="-9626"/>
      <dgm:spPr/>
    </dgm:pt>
    <dgm:pt modelId="{6F69ABE2-4CFF-4B27-AD97-7EB77D8E8297}" type="pres">
      <dgm:prSet presAssocID="{256ABA14-492C-4FDE-8782-99BD46249572}" presName="ParentText" presStyleLbl="node1" presStyleIdx="0" presStyleCnt="3" custLinFactNeighborX="-13188" custLinFactNeighborY="-39190">
        <dgm:presLayoutVars>
          <dgm:chMax val="1"/>
          <dgm:chPref val="1"/>
          <dgm:bulletEnabled val="1"/>
        </dgm:presLayoutVars>
      </dgm:prSet>
      <dgm:spPr/>
    </dgm:pt>
    <dgm:pt modelId="{948ED318-F2C7-4666-9927-91A7A5516D74}" type="pres">
      <dgm:prSet presAssocID="{256ABA14-492C-4FDE-8782-99BD46249572}" presName="ChildText" presStyleLbl="revTx" presStyleIdx="0" presStyleCnt="3" custScaleX="278017" custLinFactX="1545" custLinFactNeighborX="100000" custLinFactNeighborY="-52217">
        <dgm:presLayoutVars>
          <dgm:chMax val="0"/>
          <dgm:chPref val="0"/>
          <dgm:bulletEnabled val="1"/>
        </dgm:presLayoutVars>
      </dgm:prSet>
      <dgm:spPr/>
    </dgm:pt>
    <dgm:pt modelId="{2F0BAC08-47EC-4AAE-9DE6-9E938AB096AF}" type="pres">
      <dgm:prSet presAssocID="{012F7335-B937-4FA5-88CF-7D981179C0A1}" presName="sibTrans" presStyleCnt="0"/>
      <dgm:spPr/>
    </dgm:pt>
    <dgm:pt modelId="{84371892-D389-46DA-A870-B4E9D602EF9F}" type="pres">
      <dgm:prSet presAssocID="{9A799398-9A53-4838-9394-27380C7F1483}" presName="composite" presStyleCnt="0"/>
      <dgm:spPr/>
    </dgm:pt>
    <dgm:pt modelId="{FCD1044E-89BE-4839-BF76-672E76C8EA1A}" type="pres">
      <dgm:prSet presAssocID="{9A799398-9A53-4838-9394-27380C7F1483}" presName="bentUpArrow1" presStyleLbl="alignImgPlace1" presStyleIdx="1" presStyleCnt="2" custLinFactNeighborX="19380" custLinFactNeighborY="-21214"/>
      <dgm:spPr/>
    </dgm:pt>
    <dgm:pt modelId="{0864F645-4E31-49F6-BABA-34C1FB5FD51C}" type="pres">
      <dgm:prSet presAssocID="{9A799398-9A53-4838-9394-27380C7F1483}" presName="ParentText" presStyleLbl="node1" presStyleIdx="1" presStyleCnt="3" custLinFactNeighborX="-14771" custLinFactNeighborY="-39190">
        <dgm:presLayoutVars>
          <dgm:chMax val="1"/>
          <dgm:chPref val="1"/>
          <dgm:bulletEnabled val="1"/>
        </dgm:presLayoutVars>
      </dgm:prSet>
      <dgm:spPr/>
    </dgm:pt>
    <dgm:pt modelId="{635E286B-DB02-4DC6-B45E-279E4526B566}" type="pres">
      <dgm:prSet presAssocID="{9A799398-9A53-4838-9394-27380C7F1483}" presName="ChildText" presStyleLbl="revTx" presStyleIdx="1" presStyleCnt="3" custScaleX="267022" custScaleY="194370" custLinFactNeighborX="81074" custLinFactNeighborY="-53111">
        <dgm:presLayoutVars>
          <dgm:chMax val="0"/>
          <dgm:chPref val="0"/>
          <dgm:bulletEnabled val="1"/>
        </dgm:presLayoutVars>
      </dgm:prSet>
      <dgm:spPr/>
    </dgm:pt>
    <dgm:pt modelId="{400C3496-1340-4B83-9B1E-ED059AFEA463}" type="pres">
      <dgm:prSet presAssocID="{7B490003-B3B1-4275-ABFE-6B57DBC209B3}" presName="sibTrans" presStyleCnt="0"/>
      <dgm:spPr/>
    </dgm:pt>
    <dgm:pt modelId="{60174724-40A9-448C-885B-AE003554B83B}" type="pres">
      <dgm:prSet presAssocID="{714CF463-0B68-4869-A4D9-6194A0B8B57F}" presName="composite" presStyleCnt="0"/>
      <dgm:spPr/>
    </dgm:pt>
    <dgm:pt modelId="{EEA1C284-6623-493B-B946-B4DD38C5D79C}" type="pres">
      <dgm:prSet presAssocID="{714CF463-0B68-4869-A4D9-6194A0B8B57F}" presName="ParentText" presStyleLbl="node1" presStyleIdx="2" presStyleCnt="3" custLinFactNeighborX="-14114" custLinFactNeighborY="-4491">
        <dgm:presLayoutVars>
          <dgm:chMax val="1"/>
          <dgm:chPref val="1"/>
          <dgm:bulletEnabled val="1"/>
        </dgm:presLayoutVars>
      </dgm:prSet>
      <dgm:spPr/>
    </dgm:pt>
    <dgm:pt modelId="{A6B068D0-56B2-46E3-B2A8-30146B5874EB}" type="pres">
      <dgm:prSet presAssocID="{714CF463-0B68-4869-A4D9-6194A0B8B57F}" presName="FinalChildText" presStyleLbl="revTx" presStyleIdx="2" presStyleCnt="3" custLinFactNeighborX="-7624" custLinFactNeighborY="-5346">
        <dgm:presLayoutVars>
          <dgm:chMax val="0"/>
          <dgm:chPref val="0"/>
          <dgm:bulletEnabled val="1"/>
        </dgm:presLayoutVars>
      </dgm:prSet>
      <dgm:spPr/>
    </dgm:pt>
  </dgm:ptLst>
  <dgm:cxnLst>
    <dgm:cxn modelId="{5BEA491B-CB55-48E6-8A77-E80C3EC40020}" srcId="{256ABA14-492C-4FDE-8782-99BD46249572}" destId="{75A8BDE2-8832-44B1-802F-2AF49C2C8833}" srcOrd="0" destOrd="0" parTransId="{2F39993D-969D-4B8F-A74A-0B9754FDF786}" sibTransId="{6FD70C30-7BC3-4AAB-8999-54B613DABA0D}"/>
    <dgm:cxn modelId="{C9ECF15B-80AF-47D8-AE16-34F89B28B5E4}" srcId="{9A799398-9A53-4838-9394-27380C7F1483}" destId="{B4D8E1BB-0882-4BEB-AC42-068A38305978}" srcOrd="4" destOrd="0" parTransId="{3EE456C1-0D91-47BD-AA96-2F000AD07FBF}" sibTransId="{FADA1250-6AF7-4162-9109-B07D8A83A111}"/>
    <dgm:cxn modelId="{8D43CD69-AB91-4784-955B-378E4AEF7609}" type="presOf" srcId="{DF5C1D0E-9EAA-4F4A-8485-39D78C605561}" destId="{635E286B-DB02-4DC6-B45E-279E4526B566}" srcOrd="0" destOrd="1" presId="urn:microsoft.com/office/officeart/2005/8/layout/StepDownProcess"/>
    <dgm:cxn modelId="{21EC284E-C900-44B1-91B8-3F9D9CF20024}" type="presOf" srcId="{714CF463-0B68-4869-A4D9-6194A0B8B57F}" destId="{EEA1C284-6623-493B-B946-B4DD38C5D79C}" srcOrd="0" destOrd="0" presId="urn:microsoft.com/office/officeart/2005/8/layout/StepDownProcess"/>
    <dgm:cxn modelId="{276C1170-1F14-44BC-B85D-18F627444360}" srcId="{6CBED6B0-F6C9-42DC-97C6-4187B7861DF3}" destId="{9A799398-9A53-4838-9394-27380C7F1483}" srcOrd="1" destOrd="0" parTransId="{485F65B0-BCC8-4CB9-A58F-B6A95B228C41}" sibTransId="{7B490003-B3B1-4275-ABFE-6B57DBC209B3}"/>
    <dgm:cxn modelId="{D136A054-574A-4B8C-9F55-D20571E20BEE}" type="presOf" srcId="{9A799398-9A53-4838-9394-27380C7F1483}" destId="{0864F645-4E31-49F6-BABA-34C1FB5FD51C}" srcOrd="0" destOrd="0" presId="urn:microsoft.com/office/officeart/2005/8/layout/StepDownProcess"/>
    <dgm:cxn modelId="{920CBD8E-75E6-4665-8D71-C4C29B2F5A74}" type="presOf" srcId="{6CBED6B0-F6C9-42DC-97C6-4187B7861DF3}" destId="{D471A42E-29CA-4D88-BE75-A05215B5B18C}" srcOrd="0" destOrd="0" presId="urn:microsoft.com/office/officeart/2005/8/layout/StepDownProcess"/>
    <dgm:cxn modelId="{3590F793-61B4-4ED9-97E1-0A735C1BCC54}" type="presOf" srcId="{EF2297CF-F76D-4E6C-82C9-1434C4BE85CA}" destId="{635E286B-DB02-4DC6-B45E-279E4526B566}" srcOrd="0" destOrd="3" presId="urn:microsoft.com/office/officeart/2005/8/layout/StepDownProcess"/>
    <dgm:cxn modelId="{4E197396-5FB7-42A0-95F8-5A7E29E8DED3}" type="presOf" srcId="{B4D8E1BB-0882-4BEB-AC42-068A38305978}" destId="{635E286B-DB02-4DC6-B45E-279E4526B566}" srcOrd="0" destOrd="4" presId="urn:microsoft.com/office/officeart/2005/8/layout/StepDownProcess"/>
    <dgm:cxn modelId="{6B6E02B5-488C-482D-AF0F-1FCE8E18EE2B}" srcId="{6CBED6B0-F6C9-42DC-97C6-4187B7861DF3}" destId="{714CF463-0B68-4869-A4D9-6194A0B8B57F}" srcOrd="2" destOrd="0" parTransId="{B105788E-396E-46F4-B54E-A4EE0B11C31A}" sibTransId="{DB0B12DF-AB02-49DF-9699-7CE6F1411E68}"/>
    <dgm:cxn modelId="{43100CB5-3085-447A-99AC-7199A1D5FA16}" type="presOf" srcId="{256ABA14-492C-4FDE-8782-99BD46249572}" destId="{6F69ABE2-4CFF-4B27-AD97-7EB77D8E8297}" srcOrd="0" destOrd="0" presId="urn:microsoft.com/office/officeart/2005/8/layout/StepDownProcess"/>
    <dgm:cxn modelId="{A0B725B5-5166-454B-B774-38721890EC47}" srcId="{6CBED6B0-F6C9-42DC-97C6-4187B7861DF3}" destId="{256ABA14-492C-4FDE-8782-99BD46249572}" srcOrd="0" destOrd="0" parTransId="{6970E727-FD3A-406C-A971-BBF63658C95F}" sibTransId="{012F7335-B937-4FA5-88CF-7D981179C0A1}"/>
    <dgm:cxn modelId="{0B365FBB-E112-435A-BEA7-8F88DE8EE67F}" type="presOf" srcId="{75A8BDE2-8832-44B1-802F-2AF49C2C8833}" destId="{948ED318-F2C7-4666-9927-91A7A5516D74}" srcOrd="0" destOrd="0" presId="urn:microsoft.com/office/officeart/2005/8/layout/StepDownProcess"/>
    <dgm:cxn modelId="{627456BB-EE80-4085-8D52-D556913F3D22}" srcId="{714CF463-0B68-4869-A4D9-6194A0B8B57F}" destId="{44B6F7E7-47CE-4383-9597-7D8EC3AC9AD8}" srcOrd="0" destOrd="0" parTransId="{40328D6A-E1BF-494D-B1D1-A2D6B2284508}" sibTransId="{7DFDC044-5566-4139-AE93-8E517A65D63C}"/>
    <dgm:cxn modelId="{357720C7-84D8-42AC-83B0-DE2880ABD99B}" srcId="{9A799398-9A53-4838-9394-27380C7F1483}" destId="{610B9480-D952-49F0-880F-DC3662263595}" srcOrd="0" destOrd="0" parTransId="{759A69A5-5E93-4E9D-AEED-75AB4CFD7D86}" sibTransId="{95C1D7C3-AB58-4640-9F16-3A90A06573CD}"/>
    <dgm:cxn modelId="{E48C32D2-508C-4E44-9FA9-7A85F9C7B928}" type="presOf" srcId="{44B6F7E7-47CE-4383-9597-7D8EC3AC9AD8}" destId="{A6B068D0-56B2-46E3-B2A8-30146B5874EB}" srcOrd="0" destOrd="0" presId="urn:microsoft.com/office/officeart/2005/8/layout/StepDownProcess"/>
    <dgm:cxn modelId="{BA7A3CD8-CDFD-4C2B-908D-CAD0A97B0F49}" srcId="{9A799398-9A53-4838-9394-27380C7F1483}" destId="{EF2297CF-F76D-4E6C-82C9-1434C4BE85CA}" srcOrd="3" destOrd="0" parTransId="{51C90D0F-75F0-4D95-9BE5-49CCA240B5CD}" sibTransId="{2FAAAD08-5273-4A5B-BE43-593E57C48765}"/>
    <dgm:cxn modelId="{7695A0D9-1151-464B-A81E-C06EE7F03A6F}" type="presOf" srcId="{96F6E6CA-297E-451B-AAF1-FC3CEB064362}" destId="{635E286B-DB02-4DC6-B45E-279E4526B566}" srcOrd="0" destOrd="2" presId="urn:microsoft.com/office/officeart/2005/8/layout/StepDownProcess"/>
    <dgm:cxn modelId="{431274DF-EEBD-49AC-915B-56ABC828DB70}" srcId="{9A799398-9A53-4838-9394-27380C7F1483}" destId="{DF5C1D0E-9EAA-4F4A-8485-39D78C605561}" srcOrd="1" destOrd="0" parTransId="{4101EFBC-1546-4EBA-AA6C-0A9D774899AB}" sibTransId="{A3FA3D17-392A-4359-BDD8-8DF9684FCDA9}"/>
    <dgm:cxn modelId="{F60DD3F4-F0DF-40B7-AAAE-2202035CC9D9}" srcId="{9A799398-9A53-4838-9394-27380C7F1483}" destId="{96F6E6CA-297E-451B-AAF1-FC3CEB064362}" srcOrd="2" destOrd="0" parTransId="{074883BA-D8A3-4AD0-8542-DBADD5042343}" sibTransId="{8FD0E493-9C32-40D6-AB5A-8EEF07082E61}"/>
    <dgm:cxn modelId="{00858CFC-0C0D-48BA-AF13-A6E4C96CBC4E}" type="presOf" srcId="{610B9480-D952-49F0-880F-DC3662263595}" destId="{635E286B-DB02-4DC6-B45E-279E4526B566}" srcOrd="0" destOrd="0" presId="urn:microsoft.com/office/officeart/2005/8/layout/StepDownProcess"/>
    <dgm:cxn modelId="{294FE5C1-00F1-4AC9-B9D4-8220FDBA0F85}" type="presParOf" srcId="{D471A42E-29CA-4D88-BE75-A05215B5B18C}" destId="{90F080D8-E6AC-49A1-8E9F-D9B2CBB80863}" srcOrd="0" destOrd="0" presId="urn:microsoft.com/office/officeart/2005/8/layout/StepDownProcess"/>
    <dgm:cxn modelId="{34042CF4-E923-462A-A3D0-F12D47EB93D9}" type="presParOf" srcId="{90F080D8-E6AC-49A1-8E9F-D9B2CBB80863}" destId="{D642B54D-B74C-48D6-95AD-BE2DA1DDD2C2}" srcOrd="0" destOrd="0" presId="urn:microsoft.com/office/officeart/2005/8/layout/StepDownProcess"/>
    <dgm:cxn modelId="{E6EF58AF-9DF0-4254-9371-E203FCAFA15C}" type="presParOf" srcId="{90F080D8-E6AC-49A1-8E9F-D9B2CBB80863}" destId="{6F69ABE2-4CFF-4B27-AD97-7EB77D8E8297}" srcOrd="1" destOrd="0" presId="urn:microsoft.com/office/officeart/2005/8/layout/StepDownProcess"/>
    <dgm:cxn modelId="{B12235CB-3082-4B67-A934-4B603A9868E7}" type="presParOf" srcId="{90F080D8-E6AC-49A1-8E9F-D9B2CBB80863}" destId="{948ED318-F2C7-4666-9927-91A7A5516D74}" srcOrd="2" destOrd="0" presId="urn:microsoft.com/office/officeart/2005/8/layout/StepDownProcess"/>
    <dgm:cxn modelId="{CC9EEBDC-C14F-42DA-833B-4B8754013A0F}" type="presParOf" srcId="{D471A42E-29CA-4D88-BE75-A05215B5B18C}" destId="{2F0BAC08-47EC-4AAE-9DE6-9E938AB096AF}" srcOrd="1" destOrd="0" presId="urn:microsoft.com/office/officeart/2005/8/layout/StepDownProcess"/>
    <dgm:cxn modelId="{6A993FC5-1622-4605-A0DE-73535007B139}" type="presParOf" srcId="{D471A42E-29CA-4D88-BE75-A05215B5B18C}" destId="{84371892-D389-46DA-A870-B4E9D602EF9F}" srcOrd="2" destOrd="0" presId="urn:microsoft.com/office/officeart/2005/8/layout/StepDownProcess"/>
    <dgm:cxn modelId="{C9198A51-F9B9-4EA3-B603-2A2266E65A4A}" type="presParOf" srcId="{84371892-D389-46DA-A870-B4E9D602EF9F}" destId="{FCD1044E-89BE-4839-BF76-672E76C8EA1A}" srcOrd="0" destOrd="0" presId="urn:microsoft.com/office/officeart/2005/8/layout/StepDownProcess"/>
    <dgm:cxn modelId="{2D5B59E6-D985-46B2-B3DF-0885099049BD}" type="presParOf" srcId="{84371892-D389-46DA-A870-B4E9D602EF9F}" destId="{0864F645-4E31-49F6-BABA-34C1FB5FD51C}" srcOrd="1" destOrd="0" presId="urn:microsoft.com/office/officeart/2005/8/layout/StepDownProcess"/>
    <dgm:cxn modelId="{3BB4B328-2B5A-4348-9831-51E3A4CAE5C1}" type="presParOf" srcId="{84371892-D389-46DA-A870-B4E9D602EF9F}" destId="{635E286B-DB02-4DC6-B45E-279E4526B566}" srcOrd="2" destOrd="0" presId="urn:microsoft.com/office/officeart/2005/8/layout/StepDownProcess"/>
    <dgm:cxn modelId="{AA04DDFB-7D75-447A-92FC-207693E933A3}" type="presParOf" srcId="{D471A42E-29CA-4D88-BE75-A05215B5B18C}" destId="{400C3496-1340-4B83-9B1E-ED059AFEA463}" srcOrd="3" destOrd="0" presId="urn:microsoft.com/office/officeart/2005/8/layout/StepDownProcess"/>
    <dgm:cxn modelId="{D8E07D47-1624-42BA-A4C3-3446C5C652C7}" type="presParOf" srcId="{D471A42E-29CA-4D88-BE75-A05215B5B18C}" destId="{60174724-40A9-448C-885B-AE003554B83B}" srcOrd="4" destOrd="0" presId="urn:microsoft.com/office/officeart/2005/8/layout/StepDownProcess"/>
    <dgm:cxn modelId="{C61F9F9D-1AEB-4EEC-80C2-D250DC96B7ED}" type="presParOf" srcId="{60174724-40A9-448C-885B-AE003554B83B}" destId="{EEA1C284-6623-493B-B946-B4DD38C5D79C}" srcOrd="0" destOrd="0" presId="urn:microsoft.com/office/officeart/2005/8/layout/StepDownProcess"/>
    <dgm:cxn modelId="{6F17B1CB-1960-4866-8290-2FEE7B332B46}" type="presParOf" srcId="{60174724-40A9-448C-885B-AE003554B83B}" destId="{A6B068D0-56B2-46E3-B2A8-30146B5874EB}" srcOrd="1" destOrd="0" presId="urn:microsoft.com/office/officeart/2005/8/layout/StepDown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F6F314-28EF-4C5E-8CB2-4F29DC9F7370}">
      <dsp:nvSpPr>
        <dsp:cNvPr id="0" name=""/>
        <dsp:cNvSpPr/>
      </dsp:nvSpPr>
      <dsp:spPr>
        <a:xfrm>
          <a:off x="621072" y="0"/>
          <a:ext cx="7038824" cy="402746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E47E02-5AC2-4A2F-9BB2-72B7F64F2914}">
      <dsp:nvSpPr>
        <dsp:cNvPr id="0" name=""/>
        <dsp:cNvSpPr/>
      </dsp:nvSpPr>
      <dsp:spPr>
        <a:xfrm>
          <a:off x="4145" y="1208240"/>
          <a:ext cx="1767233" cy="161098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t>Research</a:t>
          </a:r>
        </a:p>
      </dsp:txBody>
      <dsp:txXfrm>
        <a:off x="82787" y="1286882"/>
        <a:ext cx="1609949" cy="1453703"/>
      </dsp:txXfrm>
    </dsp:sp>
    <dsp:sp modelId="{F7E095B7-D92D-4B17-A16A-286570F38774}">
      <dsp:nvSpPr>
        <dsp:cNvPr id="0" name=""/>
        <dsp:cNvSpPr/>
      </dsp:nvSpPr>
      <dsp:spPr>
        <a:xfrm>
          <a:off x="1962362" y="801385"/>
          <a:ext cx="3161257" cy="2424697"/>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t>Outcomes</a:t>
          </a:r>
        </a:p>
        <a:p>
          <a:pPr marL="0" lvl="0" indent="0" algn="ctr" defTabSz="1244600">
            <a:lnSpc>
              <a:spcPct val="90000"/>
            </a:lnSpc>
            <a:spcBef>
              <a:spcPct val="0"/>
            </a:spcBef>
            <a:spcAft>
              <a:spcPct val="35000"/>
            </a:spcAft>
            <a:buNone/>
          </a:pPr>
          <a:r>
            <a:rPr lang="en-US" sz="1800" u="sng" kern="1200" dirty="0"/>
            <a:t>Academic: </a:t>
          </a:r>
          <a:r>
            <a:rPr lang="en-US" sz="1800" kern="1200" dirty="0"/>
            <a:t>citations, reviews, speaking invitations</a:t>
          </a:r>
        </a:p>
        <a:p>
          <a:pPr marL="0" lvl="0" indent="0" algn="ctr" defTabSz="1244600">
            <a:lnSpc>
              <a:spcPct val="90000"/>
            </a:lnSpc>
            <a:spcBef>
              <a:spcPct val="0"/>
            </a:spcBef>
            <a:spcAft>
              <a:spcPct val="35000"/>
            </a:spcAft>
            <a:buNone/>
          </a:pPr>
          <a:r>
            <a:rPr lang="en-US" sz="1800" u="sng" kern="1200" dirty="0"/>
            <a:t>Public: </a:t>
          </a:r>
          <a:r>
            <a:rPr lang="en-US" sz="1800" kern="1200" dirty="0"/>
            <a:t>increased awareness and public discussion</a:t>
          </a:r>
        </a:p>
        <a:p>
          <a:pPr marL="0" lvl="0" indent="0" algn="ctr" defTabSz="1244600">
            <a:lnSpc>
              <a:spcPct val="90000"/>
            </a:lnSpc>
            <a:spcBef>
              <a:spcPct val="0"/>
            </a:spcBef>
            <a:spcAft>
              <a:spcPct val="35000"/>
            </a:spcAft>
            <a:buNone/>
          </a:pPr>
          <a:r>
            <a:rPr lang="en-US" sz="1800" u="sng" kern="1200" dirty="0"/>
            <a:t>State: </a:t>
          </a:r>
          <a:r>
            <a:rPr lang="en-US" sz="1800" kern="1200" dirty="0"/>
            <a:t>changed laws, policies</a:t>
          </a:r>
        </a:p>
        <a:p>
          <a:pPr marL="0" lvl="0" indent="0" algn="ctr" defTabSz="1244600">
            <a:lnSpc>
              <a:spcPct val="90000"/>
            </a:lnSpc>
            <a:spcBef>
              <a:spcPct val="0"/>
            </a:spcBef>
            <a:spcAft>
              <a:spcPct val="35000"/>
            </a:spcAft>
            <a:buNone/>
          </a:pPr>
          <a:endParaRPr lang="en-US" sz="1800" kern="1200" dirty="0"/>
        </a:p>
      </dsp:txBody>
      <dsp:txXfrm>
        <a:off x="2080726" y="919749"/>
        <a:ext cx="2924529" cy="2187969"/>
      </dsp:txXfrm>
    </dsp:sp>
    <dsp:sp modelId="{DC28C630-15C4-441A-928E-5953AA09DC6B}">
      <dsp:nvSpPr>
        <dsp:cNvPr id="0" name=""/>
        <dsp:cNvSpPr/>
      </dsp:nvSpPr>
      <dsp:spPr>
        <a:xfrm>
          <a:off x="5314602" y="575356"/>
          <a:ext cx="2962221" cy="287675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dirty="0"/>
            <a:t>Impact</a:t>
          </a:r>
        </a:p>
        <a:p>
          <a:pPr marL="0" lvl="0" indent="0" algn="ctr" defTabSz="1066800">
            <a:lnSpc>
              <a:spcPct val="90000"/>
            </a:lnSpc>
            <a:spcBef>
              <a:spcPct val="0"/>
            </a:spcBef>
            <a:spcAft>
              <a:spcPct val="35000"/>
            </a:spcAft>
            <a:buNone/>
          </a:pPr>
          <a:r>
            <a:rPr lang="en-US" sz="2400" b="1" kern="1200" dirty="0"/>
            <a:t>(Social change)</a:t>
          </a:r>
        </a:p>
        <a:p>
          <a:pPr marL="0" lvl="0" indent="0" algn="ctr" defTabSz="1066800">
            <a:lnSpc>
              <a:spcPct val="90000"/>
            </a:lnSpc>
            <a:spcBef>
              <a:spcPct val="0"/>
            </a:spcBef>
            <a:spcAft>
              <a:spcPct val="35000"/>
            </a:spcAft>
            <a:buNone/>
          </a:pPr>
          <a:r>
            <a:rPr lang="en-US" sz="1800" kern="1200" dirty="0"/>
            <a:t>Changed behavior and attitudes</a:t>
          </a:r>
        </a:p>
        <a:p>
          <a:pPr marL="0" lvl="0" indent="0" algn="ctr" defTabSz="1066800">
            <a:lnSpc>
              <a:spcPct val="90000"/>
            </a:lnSpc>
            <a:spcBef>
              <a:spcPct val="0"/>
            </a:spcBef>
            <a:spcAft>
              <a:spcPct val="35000"/>
            </a:spcAft>
            <a:buNone/>
          </a:pPr>
          <a:r>
            <a:rPr lang="en-US" sz="1800" kern="1200" dirty="0"/>
            <a:t>Alleviation of poverty and inequality</a:t>
          </a:r>
        </a:p>
        <a:p>
          <a:pPr marL="0" lvl="0" indent="0" algn="ctr" defTabSz="1066800">
            <a:lnSpc>
              <a:spcPct val="90000"/>
            </a:lnSpc>
            <a:spcBef>
              <a:spcPct val="0"/>
            </a:spcBef>
            <a:spcAft>
              <a:spcPct val="35000"/>
            </a:spcAft>
            <a:buNone/>
          </a:pPr>
          <a:r>
            <a:rPr lang="en-US" sz="1800" kern="1200" dirty="0"/>
            <a:t>Enhancing research excellence</a:t>
          </a:r>
        </a:p>
        <a:p>
          <a:pPr marL="0" lvl="0" indent="0" algn="ctr" defTabSz="1066800">
            <a:lnSpc>
              <a:spcPct val="90000"/>
            </a:lnSpc>
            <a:spcBef>
              <a:spcPct val="0"/>
            </a:spcBef>
            <a:spcAft>
              <a:spcPct val="35000"/>
            </a:spcAft>
            <a:buNone/>
          </a:pPr>
          <a:endParaRPr lang="en-US" sz="1200" kern="1200" dirty="0"/>
        </a:p>
      </dsp:txBody>
      <dsp:txXfrm>
        <a:off x="5455034" y="715788"/>
        <a:ext cx="2681357" cy="259589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1CDF6C2-BB4E-42B0-8C58-87C5FC1A4E8E}">
      <dsp:nvSpPr>
        <dsp:cNvPr id="0" name=""/>
        <dsp:cNvSpPr/>
      </dsp:nvSpPr>
      <dsp:spPr>
        <a:xfrm>
          <a:off x="384734" y="56649"/>
          <a:ext cx="2377336" cy="142640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Challenging Policy</a:t>
          </a:r>
        </a:p>
        <a:p>
          <a:pPr marL="171450" lvl="1" indent="-171450" algn="l" defTabSz="711200">
            <a:lnSpc>
              <a:spcPct val="90000"/>
            </a:lnSpc>
            <a:spcBef>
              <a:spcPct val="0"/>
            </a:spcBef>
            <a:spcAft>
              <a:spcPct val="15000"/>
            </a:spcAft>
            <a:buChar char="•"/>
          </a:pPr>
          <a:r>
            <a:rPr lang="en-US" sz="1600" kern="1200" dirty="0"/>
            <a:t>Critical analysis of socially inequitable impact of policies</a:t>
          </a:r>
        </a:p>
      </dsp:txBody>
      <dsp:txXfrm>
        <a:off x="384734" y="56649"/>
        <a:ext cx="2377336" cy="1426401"/>
      </dsp:txXfrm>
    </dsp:sp>
    <dsp:sp modelId="{BCBD0469-3891-4DE6-A800-0FB2979504C4}">
      <dsp:nvSpPr>
        <dsp:cNvPr id="0" name=""/>
        <dsp:cNvSpPr/>
      </dsp:nvSpPr>
      <dsp:spPr>
        <a:xfrm>
          <a:off x="2999804" y="991"/>
          <a:ext cx="2377336" cy="142640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en-US" sz="1600" kern="1200" dirty="0"/>
            <a:t>Empowering resistance</a:t>
          </a:r>
        </a:p>
        <a:p>
          <a:pPr marL="171450" lvl="1" indent="-171450" algn="l" defTabSz="711200">
            <a:lnSpc>
              <a:spcPct val="90000"/>
            </a:lnSpc>
            <a:spcBef>
              <a:spcPct val="0"/>
            </a:spcBef>
            <a:spcAft>
              <a:spcPct val="15000"/>
            </a:spcAft>
            <a:buChar char="•"/>
          </a:pPr>
          <a:r>
            <a:rPr lang="en-US" sz="1600" kern="1200" dirty="0"/>
            <a:t>Supporting knowledge, networks and other tools for </a:t>
          </a:r>
          <a:r>
            <a:rPr lang="en-US" sz="1600" kern="1200" dirty="0" err="1"/>
            <a:t>organising</a:t>
          </a:r>
          <a:r>
            <a:rPr lang="en-US" sz="1600" kern="1200" dirty="0"/>
            <a:t> resistance</a:t>
          </a:r>
        </a:p>
      </dsp:txBody>
      <dsp:txXfrm>
        <a:off x="2999804" y="991"/>
        <a:ext cx="2377336" cy="1426401"/>
      </dsp:txXfrm>
    </dsp:sp>
    <dsp:sp modelId="{A64E5AAB-ECA4-454F-9197-D919155AB6CF}">
      <dsp:nvSpPr>
        <dsp:cNvPr id="0" name=""/>
        <dsp:cNvSpPr/>
      </dsp:nvSpPr>
      <dsp:spPr>
        <a:xfrm>
          <a:off x="384734" y="1665127"/>
          <a:ext cx="2377336" cy="142640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Platforming </a:t>
          </a:r>
          <a:r>
            <a:rPr lang="en-US" sz="1800" kern="1200" dirty="0" err="1"/>
            <a:t>marginalised</a:t>
          </a:r>
          <a:r>
            <a:rPr lang="en-US" sz="1800" kern="1200" dirty="0"/>
            <a:t> voices</a:t>
          </a:r>
        </a:p>
        <a:p>
          <a:pPr marL="114300" lvl="1" indent="-114300" algn="l" defTabSz="622300">
            <a:lnSpc>
              <a:spcPct val="90000"/>
            </a:lnSpc>
            <a:spcBef>
              <a:spcPct val="0"/>
            </a:spcBef>
            <a:spcAft>
              <a:spcPct val="15000"/>
            </a:spcAft>
            <a:buChar char="•"/>
          </a:pPr>
          <a:r>
            <a:rPr lang="en-US" sz="1400" kern="1200" dirty="0"/>
            <a:t>Listening, supporting, representing and </a:t>
          </a:r>
          <a:r>
            <a:rPr lang="en-US" sz="1400" kern="1200" dirty="0" err="1"/>
            <a:t>mobilising</a:t>
          </a:r>
          <a:r>
            <a:rPr lang="en-US" sz="1400" kern="1200" dirty="0"/>
            <a:t> </a:t>
          </a:r>
          <a:r>
            <a:rPr lang="en-US" sz="1400" kern="1200" dirty="0" err="1"/>
            <a:t>marginalised</a:t>
          </a:r>
          <a:r>
            <a:rPr lang="en-US" sz="1400" kern="1200" dirty="0"/>
            <a:t> voices</a:t>
          </a:r>
        </a:p>
      </dsp:txBody>
      <dsp:txXfrm>
        <a:off x="384734" y="1665127"/>
        <a:ext cx="2377336" cy="1426401"/>
      </dsp:txXfrm>
    </dsp:sp>
    <dsp:sp modelId="{85112FA3-68D1-4BC1-A142-D17728DD469B}">
      <dsp:nvSpPr>
        <dsp:cNvPr id="0" name=""/>
        <dsp:cNvSpPr/>
      </dsp:nvSpPr>
      <dsp:spPr>
        <a:xfrm>
          <a:off x="2999804" y="1665127"/>
          <a:ext cx="2377336" cy="1426401"/>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t>Supporting new critical publics</a:t>
          </a:r>
        </a:p>
        <a:p>
          <a:pPr marL="114300" lvl="1" indent="-114300" algn="l" defTabSz="622300">
            <a:lnSpc>
              <a:spcPct val="90000"/>
            </a:lnSpc>
            <a:spcBef>
              <a:spcPct val="0"/>
            </a:spcBef>
            <a:spcAft>
              <a:spcPct val="15000"/>
            </a:spcAft>
            <a:buChar char="•"/>
          </a:pPr>
          <a:r>
            <a:rPr lang="en-US" sz="1400" kern="1200" dirty="0"/>
            <a:t>Inspiring new critical skills and new forms of public engagement </a:t>
          </a:r>
        </a:p>
      </dsp:txBody>
      <dsp:txXfrm>
        <a:off x="2999804" y="1665127"/>
        <a:ext cx="2377336" cy="14264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42B54D-B74C-48D6-95AD-BE2DA1DDD2C2}">
      <dsp:nvSpPr>
        <dsp:cNvPr id="0" name=""/>
        <dsp:cNvSpPr/>
      </dsp:nvSpPr>
      <dsp:spPr>
        <a:xfrm rot="5400000">
          <a:off x="1154964" y="1181714"/>
          <a:ext cx="1148271" cy="1307266"/>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F69ABE2-4CFF-4B27-AD97-7EB77D8E8297}">
      <dsp:nvSpPr>
        <dsp:cNvPr id="0" name=""/>
        <dsp:cNvSpPr/>
      </dsp:nvSpPr>
      <dsp:spPr>
        <a:xfrm>
          <a:off x="273810" y="0"/>
          <a:ext cx="1933013" cy="1353046"/>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Impact: social change</a:t>
          </a:r>
        </a:p>
      </dsp:txBody>
      <dsp:txXfrm>
        <a:off x="339872" y="66062"/>
        <a:ext cx="1800889" cy="1220922"/>
      </dsp:txXfrm>
    </dsp:sp>
    <dsp:sp modelId="{948ED318-F2C7-4666-9927-91A7A5516D74}">
      <dsp:nvSpPr>
        <dsp:cNvPr id="0" name=""/>
        <dsp:cNvSpPr/>
      </dsp:nvSpPr>
      <dsp:spPr>
        <a:xfrm>
          <a:off x="2637998" y="0"/>
          <a:ext cx="3908611" cy="10935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bg1"/>
              </a:solidFill>
            </a:rPr>
            <a:t>What are the social issues and critical challenges that require new ideas and new knowledge? </a:t>
          </a:r>
        </a:p>
      </dsp:txBody>
      <dsp:txXfrm>
        <a:off x="2637998" y="0"/>
        <a:ext cx="3908611" cy="1093591"/>
      </dsp:txXfrm>
    </dsp:sp>
    <dsp:sp modelId="{FCD1044E-89BE-4839-BF76-672E76C8EA1A}">
      <dsp:nvSpPr>
        <dsp:cNvPr id="0" name=""/>
        <dsp:cNvSpPr/>
      </dsp:nvSpPr>
      <dsp:spPr>
        <a:xfrm rot="5400000">
          <a:off x="3289633" y="2955538"/>
          <a:ext cx="1148271" cy="1307266"/>
        </a:xfrm>
        <a:prstGeom prst="bentUpArrow">
          <a:avLst>
            <a:gd name="adj1" fmla="val 32840"/>
            <a:gd name="adj2" fmla="val 25000"/>
            <a:gd name="adj3" fmla="val 3578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864F645-4E31-49F6-BABA-34C1FB5FD51C}">
      <dsp:nvSpPr>
        <dsp:cNvPr id="0" name=""/>
        <dsp:cNvSpPr/>
      </dsp:nvSpPr>
      <dsp:spPr>
        <a:xfrm>
          <a:off x="2446537" y="1395991"/>
          <a:ext cx="1933013" cy="1353046"/>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Impact-driven research methodologies</a:t>
          </a:r>
        </a:p>
      </dsp:txBody>
      <dsp:txXfrm>
        <a:off x="2512599" y="1462053"/>
        <a:ext cx="1800889" cy="1220922"/>
      </dsp:txXfrm>
    </dsp:sp>
    <dsp:sp modelId="{635E286B-DB02-4DC6-B45E-279E4526B566}">
      <dsp:nvSpPr>
        <dsp:cNvPr id="0" name=""/>
        <dsp:cNvSpPr/>
      </dsp:nvSpPr>
      <dsp:spPr>
        <a:xfrm>
          <a:off x="4630814" y="958465"/>
          <a:ext cx="3754034" cy="21256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bg1"/>
              </a:solidFill>
            </a:rPr>
            <a:t>How can we design our research project to affect the change we seek to create? </a:t>
          </a:r>
        </a:p>
        <a:p>
          <a:pPr marL="171450" lvl="1" indent="-171450" algn="l" defTabSz="711200">
            <a:lnSpc>
              <a:spcPct val="90000"/>
            </a:lnSpc>
            <a:spcBef>
              <a:spcPct val="0"/>
            </a:spcBef>
            <a:spcAft>
              <a:spcPct val="15000"/>
            </a:spcAft>
            <a:buChar char="•"/>
          </a:pPr>
          <a:r>
            <a:rPr lang="en-US" sz="1600" kern="1200" dirty="0">
              <a:solidFill>
                <a:schemeClr val="bg1"/>
              </a:solidFill>
            </a:rPr>
            <a:t>PAR</a:t>
          </a:r>
        </a:p>
        <a:p>
          <a:pPr marL="171450" lvl="1" indent="-171450" algn="l" defTabSz="711200">
            <a:lnSpc>
              <a:spcPct val="90000"/>
            </a:lnSpc>
            <a:spcBef>
              <a:spcPct val="0"/>
            </a:spcBef>
            <a:spcAft>
              <a:spcPct val="15000"/>
            </a:spcAft>
            <a:buChar char="•"/>
          </a:pPr>
          <a:r>
            <a:rPr lang="en-US" sz="1600" kern="1200" dirty="0">
              <a:solidFill>
                <a:schemeClr val="bg1"/>
              </a:solidFill>
            </a:rPr>
            <a:t>Accessible research products</a:t>
          </a:r>
        </a:p>
        <a:p>
          <a:pPr marL="171450" lvl="1" indent="-171450" algn="l" defTabSz="711200">
            <a:lnSpc>
              <a:spcPct val="90000"/>
            </a:lnSpc>
            <a:spcBef>
              <a:spcPct val="0"/>
            </a:spcBef>
            <a:spcAft>
              <a:spcPct val="15000"/>
            </a:spcAft>
            <a:buChar char="•"/>
          </a:pPr>
          <a:r>
            <a:rPr lang="en-US" sz="1600" kern="1200" dirty="0">
              <a:solidFill>
                <a:schemeClr val="bg1"/>
              </a:solidFill>
            </a:rPr>
            <a:t>Transparent processes and open data</a:t>
          </a:r>
        </a:p>
        <a:p>
          <a:pPr marL="171450" lvl="1" indent="-171450" algn="l" defTabSz="711200">
            <a:lnSpc>
              <a:spcPct val="90000"/>
            </a:lnSpc>
            <a:spcBef>
              <a:spcPct val="0"/>
            </a:spcBef>
            <a:spcAft>
              <a:spcPct val="15000"/>
            </a:spcAft>
            <a:buChar char="•"/>
          </a:pPr>
          <a:r>
            <a:rPr lang="en-US" sz="1600" kern="1200" dirty="0">
              <a:solidFill>
                <a:schemeClr val="bg1"/>
              </a:solidFill>
            </a:rPr>
            <a:t>Dissemination strategies and critical partnerships</a:t>
          </a:r>
        </a:p>
      </dsp:txBody>
      <dsp:txXfrm>
        <a:off x="4630814" y="958465"/>
        <a:ext cx="3754034" cy="2125614"/>
      </dsp:txXfrm>
    </dsp:sp>
    <dsp:sp modelId="{EEA1C284-6623-493B-B946-B4DD38C5D79C}">
      <dsp:nvSpPr>
        <dsp:cNvPr id="0" name=""/>
        <dsp:cNvSpPr/>
      </dsp:nvSpPr>
      <dsp:spPr>
        <a:xfrm>
          <a:off x="4662563" y="3385402"/>
          <a:ext cx="1933013" cy="1353046"/>
        </a:xfrm>
        <a:prstGeom prst="roundRect">
          <a:avLst>
            <a:gd name="adj" fmla="val 166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How do we describe what we do and how/if it works?</a:t>
          </a:r>
        </a:p>
      </dsp:txBody>
      <dsp:txXfrm>
        <a:off x="4728625" y="3451464"/>
        <a:ext cx="1800889" cy="1220922"/>
      </dsp:txXfrm>
    </dsp:sp>
    <dsp:sp modelId="{A6B068D0-56B2-46E3-B2A8-30146B5874EB}">
      <dsp:nvSpPr>
        <dsp:cNvPr id="0" name=""/>
        <dsp:cNvSpPr/>
      </dsp:nvSpPr>
      <dsp:spPr>
        <a:xfrm>
          <a:off x="6761217" y="3516748"/>
          <a:ext cx="1405889" cy="10935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ctr" anchorCtr="0">
          <a:noAutofit/>
        </a:bodyPr>
        <a:lstStyle/>
        <a:p>
          <a:pPr marL="171450" lvl="1" indent="-171450" algn="l" defTabSz="711200">
            <a:lnSpc>
              <a:spcPct val="90000"/>
            </a:lnSpc>
            <a:spcBef>
              <a:spcPct val="0"/>
            </a:spcBef>
            <a:spcAft>
              <a:spcPct val="15000"/>
            </a:spcAft>
            <a:buChar char="•"/>
          </a:pPr>
          <a:r>
            <a:rPr lang="en-US" sz="1600" kern="1200" dirty="0">
              <a:solidFill>
                <a:schemeClr val="bg1"/>
              </a:solidFill>
            </a:rPr>
            <a:t>New narratives of science </a:t>
          </a:r>
        </a:p>
      </dsp:txBody>
      <dsp:txXfrm>
        <a:off x="6761217" y="3516748"/>
        <a:ext cx="1405889" cy="1093591"/>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StepDownProcess">
  <dgm:title val=""/>
  <dgm:desc val=""/>
  <dgm:catLst>
    <dgm:cat type="process" pri="1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tL"/>
          <dgm:param type="flowDir" val="row"/>
          <dgm:param type="off" val="off"/>
          <dgm:param type="bkpt" val="fixed"/>
          <dgm:param type="bkPtFixedVal" val="1"/>
        </dgm:alg>
      </dgm:if>
      <dgm:else name="Name2">
        <dgm:alg type="snake">
          <dgm:param type="grDir" val="tR"/>
          <dgm:param type="flowDir" val="row"/>
          <dgm:param type="off" val="off"/>
          <dgm:param type="bkpt" val="fixed"/>
          <dgm:param type="bkPtFixedVal" val="1"/>
        </dgm:alg>
      </dgm:else>
    </dgm:choose>
    <dgm:shape xmlns:r="http://schemas.openxmlformats.org/officeDocument/2006/relationships" r:blip="">
      <dgm:adjLst/>
    </dgm:shape>
    <dgm:choose name="Name3">
      <dgm:if name="Name4" func="var" arg="dir" op="equ" val="norm">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if>
      <dgm:else name="Name5">
        <dgm:constrLst>
          <dgm:constr type="alignOff" forName="rootnode" val="0.48"/>
          <dgm:constr type="primFontSz" for="des" forName="ParentText" val="65"/>
          <dgm:constr type="primFontSz" for="des" forName="ChildText" refType="primFontSz" refFor="des" refForName="ParentText" op="lte"/>
          <dgm:constr type="w" for="ch" forName="composite" refType="w"/>
          <dgm:constr type="h" for="ch" forName="composite" refType="h"/>
          <dgm:constr type="sp" refType="h" refFor="ch" refForName="composite" op="equ" fact="-0.38"/>
        </dgm:constrLst>
      </dgm:else>
    </dgm:choose>
    <dgm:forEach name="nodesForEach" axis="ch" ptType="node">
      <dgm:layoutNode name="composite">
        <dgm:alg type="composite">
          <dgm:param type="ar" val="1.2439"/>
        </dgm:alg>
        <dgm:shape xmlns:r="http://schemas.openxmlformats.org/officeDocument/2006/relationships" r:blip="">
          <dgm:adjLst/>
        </dgm:shape>
        <dgm:choose name="Name6">
          <dgm:if name="Name7" func="var" arg="dir" op="equ" val="norm">
            <dgm:constrLst>
              <dgm:constr type="l" for="ch" forName="bentUpArrow1" refType="w" fact="0.07"/>
              <dgm:constr type="t" for="ch" forName="bentUpArrow1" refType="h" fact="0.524"/>
              <dgm:constr type="w" for="ch" forName="bentUpArrow1" refType="w" fact="0.3844"/>
              <dgm:constr type="h" for="ch" forName="bentUpArrow1" refType="h" fact="0.42"/>
              <dgm:constr type="l" for="ch" forName="ParentText" refType="w" fact="0"/>
              <dgm:constr type="t" for="ch" forName="ParentText" refType="h" fact="0"/>
              <dgm:constr type="w" for="ch" forName="ParentText" refType="w" fact="0.5684"/>
              <dgm:constr type="h" for="ch" forName="ParentText" refType="h" fact="0.4949"/>
              <dgm:constr type="l" for="ch" forName="ChildText" refType="w" refFor="ch" refForName="ParentText"/>
              <dgm:constr type="t" for="ch" forName="ChildText" refType="h" fact="0.05"/>
              <dgm:constr type="w" for="ch" forName="ChildText" refType="w" fact="0.4134"/>
              <dgm:constr type="h" for="ch" forName="ChildText" refType="h" fact="0.4"/>
              <dgm:constr type="l" for="ch" forName="FinalChildText" refType="w" refFor="ch" refForName="ParentText"/>
              <dgm:constr type="t" for="ch" forName="FinalChildText" refType="h" fact="0.05"/>
              <dgm:constr type="w" for="ch" forName="FinalChildText" refType="w" fact="0.4134"/>
              <dgm:constr type="h" for="ch" forName="FinalChildText" refType="h" fact="0.4"/>
            </dgm:constrLst>
          </dgm:if>
          <dgm:else name="Name8">
            <dgm:constrLst>
              <dgm:constr type="r" for="ch" forName="bentUpArrow1" refType="w" fact="0.97"/>
              <dgm:constr type="t" for="ch" forName="bentUpArrow1" refType="h" fact="0.524"/>
              <dgm:constr type="w" for="ch" forName="bentUpArrow1" refType="w" fact="0.3844"/>
              <dgm:constr type="h" for="ch" forName="bentUpArrow1" refType="h" fact="0.42"/>
              <dgm:constr type="l" for="ch" forName="ParentText" refType="w" fact="0.4316"/>
              <dgm:constr type="t" for="ch" forName="ParentText" refType="h" fact="0"/>
              <dgm:constr type="w" for="ch" forName="ParentText" refType="w" fact="0.5684"/>
              <dgm:constr type="h" for="ch" forName="ParentText" refType="h" fact="0.4949"/>
              <dgm:constr type="l" for="ch" forName="ChildText" refType="w" fact="0"/>
              <dgm:constr type="t" for="ch" forName="ChildText" refType="h" fact="0.05"/>
              <dgm:constr type="w" for="ch" forName="ChildText" refType="w" fact="0.4134"/>
              <dgm:constr type="h" for="ch" forName="ChildText" refType="h" fact="0.4"/>
              <dgm:constr type="l" for="ch" forName="FinalChildText" refType="w" fact="0"/>
              <dgm:constr type="t" for="ch" forName="FinalChildText" refType="h" fact="0.05"/>
              <dgm:constr type="w" for="ch" forName="FinalChildText" refType="w" fact="0.4134"/>
              <dgm:constr type="h" for="ch" forName="FinalChildText" refType="h" fact="0.4"/>
            </dgm:constrLst>
          </dgm:else>
        </dgm:choose>
        <dgm:choose name="Name9">
          <dgm:if name="Name10" axis="followSib" ptType="node" func="cnt" op="gte" val="1">
            <dgm:layoutNode name="bentUpArrow1" styleLbl="alignImgPlace1">
              <dgm:alg type="sp"/>
              <dgm:choose name="Name11">
                <dgm:if name="Name12" func="var" arg="dir" op="equ" val="norm">
                  <dgm:shape xmlns:r="http://schemas.openxmlformats.org/officeDocument/2006/relationships" rot="90" type="bentUpArrow" r:blip="">
                    <dgm:adjLst>
                      <dgm:adj idx="1" val="0.3284"/>
                      <dgm:adj idx="2" val="0.25"/>
                      <dgm:adj idx="3" val="0.3578"/>
                    </dgm:adjLst>
                  </dgm:shape>
                </dgm:if>
                <dgm:else name="Name13">
                  <dgm:shape xmlns:r="http://schemas.openxmlformats.org/officeDocument/2006/relationships" rot="180" type="bentArrow" r:blip="">
                    <dgm:adjLst>
                      <dgm:adj idx="1" val="0.3284"/>
                      <dgm:adj idx="2" val="0.25"/>
                      <dgm:adj idx="3" val="0.3578"/>
                      <dgm:adj idx="4" val="0"/>
                    </dgm:adjLst>
                  </dgm:shape>
                </dgm:else>
              </dgm:choose>
              <dgm:presOf/>
            </dgm:layoutNode>
          </dgm:if>
          <dgm:else name="Name14"/>
        </dgm:choose>
        <dgm:layoutNode name="ParentText" styleLbl="node1">
          <dgm:varLst>
            <dgm:chMax val="1"/>
            <dgm:chPref val="1"/>
            <dgm:bulletEnabled val="1"/>
          </dgm:varLst>
          <dgm:alg type="tx"/>
          <dgm:shape xmlns:r="http://schemas.openxmlformats.org/officeDocument/2006/relationships" type="roundRect" r:blip="">
            <dgm:adjLst>
              <dgm:adj idx="1" val="0.166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15">
          <dgm:if name="Name16" axis="followSib" ptType="node" func="cnt" op="equ" val="0">
            <dgm:choose name="Name17">
              <dgm:if name="Name18" axis="ch" ptType="node" func="cnt" op="gte" val="1">
                <dgm:layoutNode name="Final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9"/>
            </dgm:choose>
          </dgm:if>
          <dgm:else name="Name20">
            <dgm:layoutNode name="ChildText" styleLbl="revTx">
              <dgm:varLst>
                <dgm:chMax val="0"/>
                <dgm:chPref val="0"/>
                <dgm:bulletEnabled val="1"/>
              </dgm:varLst>
              <dgm:alg type="tx">
                <dgm:param type="stBulletLvl" val="1"/>
                <dgm:param type="txAnchorVertCh" val="mid"/>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E506DF9-F0A8-42C4-8073-753FE7A813F5}" type="datetimeFigureOut">
              <a:rPr lang="en-AU" smtClean="0"/>
              <a:t>30/06/2021</a:t>
            </a:fld>
            <a:endParaRPr lang="en-AU"/>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AU"/>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884118-C42D-41FE-A410-D319179E407E}" type="slidenum">
              <a:rPr lang="en-AU" smtClean="0"/>
              <a:t>‹nr.›</a:t>
            </a:fld>
            <a:endParaRPr lang="en-AU"/>
          </a:p>
        </p:txBody>
      </p:sp>
    </p:spTree>
    <p:extLst>
      <p:ext uri="{BB962C8B-B14F-4D97-AF65-F5344CB8AC3E}">
        <p14:creationId xmlns:p14="http://schemas.microsoft.com/office/powerpoint/2010/main" val="30753295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828771-7FCD-4391-B992-A5FF3FDDD679}"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75001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dirty="0">
                <a:solidFill>
                  <a:schemeClr val="bg1"/>
                </a:solidFill>
                <a:latin typeface="+mn-lt"/>
              </a:rPr>
              <a:t>The Impact Centre was established with a mandate to strategically direct the HSRC’s research visibility, relevance and impact as pathways and drivers to position the HSRC as the flagship for Humanities and Social Sciences (HSS) research in the South Africa, the SADC region, continental Africa and the globally. </a:t>
            </a:r>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29C53A-EDC4-7141-9E36-F64775B4BDA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7426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rPr>
              <a:t>New tools/forms/distributions of knowledge are changing the way in which we (as researchers and as society) explore and understand the world</a:t>
            </a:r>
          </a:p>
          <a:p>
            <a:r>
              <a:rPr lang="en-US" sz="1200" dirty="0">
                <a:solidFill>
                  <a:schemeClr val="bg1"/>
                </a:solidFill>
              </a:rPr>
              <a:t>Are we looking at this the wrong way around, from “research” to impact”?</a:t>
            </a:r>
          </a:p>
          <a:p>
            <a:r>
              <a:rPr lang="en-US" sz="1200" dirty="0">
                <a:solidFill>
                  <a:schemeClr val="bg1"/>
                </a:solidFill>
              </a:rPr>
              <a:t>What happens if we start with “impact”?</a:t>
            </a:r>
          </a:p>
          <a:p>
            <a:r>
              <a:rPr lang="en-US" sz="1200" dirty="0">
                <a:solidFill>
                  <a:schemeClr val="bg1"/>
                </a:solidFill>
              </a:rPr>
              <a:t>How do we push the frontiers of human knowledge and understanding?</a:t>
            </a:r>
          </a:p>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F5EECD-BA9D-4F66-B724-7CDF6E571C40}" type="slidenum">
              <a:rPr kumimoji="0" lang="en-Z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Z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86049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ZA" dirty="0">
                <a:solidFill>
                  <a:schemeClr val="bg1"/>
                </a:solidFill>
              </a:rPr>
              <a:t>Ensure our research contributes to understanding and addresses poverty and inequality in South Africa</a:t>
            </a:r>
          </a:p>
          <a:p>
            <a:pPr lvl="1"/>
            <a:r>
              <a:rPr lang="en-ZA" dirty="0">
                <a:solidFill>
                  <a:schemeClr val="bg1"/>
                </a:solidFill>
              </a:rPr>
              <a:t>What is the reach and extent of this? a few larger impact studies, does all work lead to impact [in the way it is currently conceived]?   </a:t>
            </a:r>
          </a:p>
          <a:p>
            <a:pPr lvl="1"/>
            <a:r>
              <a:rPr lang="en-ZA" dirty="0">
                <a:solidFill>
                  <a:schemeClr val="bg1"/>
                </a:solidFill>
              </a:rPr>
              <a:t>Research, conceptual and technical work  </a:t>
            </a:r>
          </a:p>
          <a:p>
            <a:pPr lvl="1"/>
            <a:r>
              <a:rPr lang="en-ZA" dirty="0">
                <a:solidFill>
                  <a:schemeClr val="bg1"/>
                </a:solidFill>
              </a:rPr>
              <a:t>Lead and guide on research, frameworks, tools and theories for building capacities on impact</a:t>
            </a:r>
          </a:p>
          <a:p>
            <a:pPr lvl="1"/>
            <a:r>
              <a:rPr lang="en-ZA" dirty="0">
                <a:solidFill>
                  <a:schemeClr val="bg1"/>
                </a:solidFill>
              </a:rPr>
              <a:t>Work with divisions to ensure implementation</a:t>
            </a:r>
          </a:p>
          <a:p>
            <a:pPr lvl="1"/>
            <a:r>
              <a:rPr lang="en-ZA" dirty="0">
                <a:solidFill>
                  <a:schemeClr val="bg1"/>
                </a:solidFill>
              </a:rPr>
              <a:t>Document the stories/impact for change institutionally </a:t>
            </a:r>
          </a:p>
          <a:p>
            <a:pPr lvl="1"/>
            <a:r>
              <a:rPr lang="en-US" dirty="0">
                <a:solidFill>
                  <a:schemeClr val="bg1"/>
                </a:solidFill>
              </a:rPr>
              <a:t>Drive/establish/engage on organizational Impact Culture </a:t>
            </a:r>
            <a:r>
              <a:rPr lang="en-ZA" dirty="0">
                <a:solidFill>
                  <a:schemeClr val="bg1"/>
                </a:solidFill>
              </a:rPr>
              <a:t>  </a:t>
            </a:r>
          </a:p>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29C53A-EDC4-7141-9E36-F64775B4BDA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5846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dirty="0"/>
              <a:t>Part II of the literature which will focus on two questions:</a:t>
            </a:r>
            <a:endParaRPr lang="en-ZA" sz="1300" dirty="0"/>
          </a:p>
          <a:p>
            <a:r>
              <a:rPr lang="en-GB" sz="1300" dirty="0"/>
              <a:t> </a:t>
            </a:r>
            <a:endParaRPr lang="en-ZA" sz="1300" dirty="0"/>
          </a:p>
          <a:p>
            <a:pPr lvl="0"/>
            <a:r>
              <a:rPr lang="en-ZA" sz="1300" dirty="0"/>
              <a:t>How can digital artefacts help us foster our own research impact and science communication practices? </a:t>
            </a:r>
          </a:p>
          <a:p>
            <a:pPr lvl="0"/>
            <a:r>
              <a:rPr lang="en-ZA" sz="1300" dirty="0"/>
              <a:t>How do we foster civic engagement using scientific and creative modalities? </a:t>
            </a:r>
          </a:p>
          <a:p>
            <a:r>
              <a:rPr lang="en-GB" sz="1300" dirty="0"/>
              <a:t> </a:t>
            </a:r>
            <a:endParaRPr lang="en-ZA" sz="1300" dirty="0"/>
          </a:p>
          <a:p>
            <a:r>
              <a:rPr lang="en-GB" sz="1300" dirty="0"/>
              <a:t> </a:t>
            </a:r>
            <a:endParaRPr lang="en-ZA" sz="1300" dirty="0"/>
          </a:p>
          <a:p>
            <a:r>
              <a:rPr lang="en-GB" sz="1300" dirty="0"/>
              <a:t>After studying the literature guided by the foregoing questions, we will undertake Part III of the literature review in which we explore the following questions in order to deepen our understanding and practices of research impact within the HSRC and South African context:</a:t>
            </a:r>
            <a:endParaRPr lang="en-ZA" sz="1300" dirty="0"/>
          </a:p>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29C53A-EDC4-7141-9E36-F64775B4BDA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8710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724262-D47C-D444-8DFB-457E9BF504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42886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tabLst>
                <a:tab pos="457200" algn="l"/>
              </a:tabLst>
            </a:pPr>
            <a:r>
              <a:rPr lang="en-US" dirty="0"/>
              <a:t>Not just individual</a:t>
            </a:r>
            <a:r>
              <a:rPr lang="en-US" baseline="0" dirty="0"/>
              <a:t> impact, but broader social impact that is asking about the value of what we do, that is asking if the work indeed for the social good: to show and illustrate that. </a:t>
            </a:r>
            <a:r>
              <a:rPr lang="en-ZA" sz="3200" dirty="0">
                <a:solidFill>
                  <a:srgbClr val="C3B69B"/>
                </a:solidFill>
                <a:ea typeface="Calibri" panose="020F0502020204030204" pitchFamily="34" charset="0"/>
                <a:cs typeface="Times New Roman (Body CS)"/>
              </a:rPr>
              <a:t>“Impact” is not without contestation </a:t>
            </a:r>
          </a:p>
          <a:p>
            <a:pPr lvl="1">
              <a:tabLst>
                <a:tab pos="457200" algn="l"/>
              </a:tabLst>
            </a:pPr>
            <a:r>
              <a:rPr lang="en-ZA" sz="1800" dirty="0">
                <a:solidFill>
                  <a:schemeClr val="bg1"/>
                </a:solidFill>
                <a:ea typeface="Calibri" panose="020F0502020204030204" pitchFamily="34" charset="0"/>
                <a:cs typeface="Times New Roman (Body CS)"/>
              </a:rPr>
              <a:t>more accurate to speak of the “value” or “influence” of research </a:t>
            </a:r>
          </a:p>
          <a:p>
            <a:pPr lvl="1">
              <a:tabLst>
                <a:tab pos="457200" algn="l"/>
              </a:tabLst>
            </a:pPr>
            <a:r>
              <a:rPr lang="en-ZA" sz="1800" dirty="0">
                <a:solidFill>
                  <a:schemeClr val="bg1"/>
                </a:solidFill>
                <a:ea typeface="Calibri" panose="020F0502020204030204" pitchFamily="34" charset="0"/>
                <a:cs typeface="Times New Roman (Body CS)"/>
              </a:rPr>
              <a:t>questions what it means for blue-skies research</a:t>
            </a:r>
          </a:p>
          <a:p>
            <a:pPr marL="0" marR="0" lvl="0" indent="0" algn="l" defTabSz="963595" rtl="0" eaLnBrk="0" fontAlgn="base" latinLnBrk="0" hangingPunct="0">
              <a:lnSpc>
                <a:spcPct val="100000"/>
              </a:lnSpc>
              <a:spcBef>
                <a:spcPct val="30000"/>
              </a:spcBef>
              <a:spcAft>
                <a:spcPct val="0"/>
              </a:spcAft>
              <a:buClrTx/>
              <a:buSzTx/>
              <a:buFont typeface="+mj-lt"/>
              <a:buNone/>
              <a:tabLst/>
              <a:defRPr/>
            </a:pPr>
            <a:endParaRPr lang="en-ZA" dirty="0"/>
          </a:p>
          <a:p>
            <a:pPr marL="0" indent="0" defTabSz="963595" eaLnBrk="0" fontAlgn="base" hangingPunct="0">
              <a:spcBef>
                <a:spcPct val="30000"/>
              </a:spcBef>
              <a:spcAft>
                <a:spcPct val="0"/>
              </a:spcAft>
              <a:buFont typeface="+mj-lt"/>
              <a:buNone/>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584C7F-C47C-2444-9AAA-708E7EDEB13B}" type="slidenum">
              <a:rPr kumimoji="0" lang="en-US" alt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alt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64484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tabLst>
                <a:tab pos="457200" algn="l"/>
              </a:tabLst>
            </a:pPr>
            <a:r>
              <a:rPr lang="en-ZA" sz="1200" dirty="0">
                <a:solidFill>
                  <a:schemeClr val="bg1"/>
                </a:solidFill>
                <a:ea typeface="Calibri" panose="020F0502020204030204" pitchFamily="34" charset="0"/>
                <a:cs typeface="Times New Roman (Body CS)"/>
              </a:rPr>
              <a:t>Fulfil on our mandate to improve our social conditions through generation and dissemination of knowledge</a:t>
            </a:r>
          </a:p>
          <a:p>
            <a:pPr>
              <a:tabLst>
                <a:tab pos="457200" algn="l"/>
              </a:tabLst>
            </a:pPr>
            <a:r>
              <a:rPr lang="en-ZA" sz="1200" dirty="0">
                <a:solidFill>
                  <a:schemeClr val="bg1"/>
                </a:solidFill>
                <a:ea typeface="Calibri" panose="020F0502020204030204" pitchFamily="34" charset="0"/>
                <a:cs typeface="Times New Roman (Body CS)"/>
              </a:rPr>
              <a:t>Show our value and legitimacy as knowledge creators</a:t>
            </a:r>
          </a:p>
          <a:p>
            <a:pPr>
              <a:tabLst>
                <a:tab pos="457200" algn="l"/>
              </a:tabLst>
            </a:pPr>
            <a:r>
              <a:rPr lang="en-ZA" sz="1200" dirty="0">
                <a:solidFill>
                  <a:schemeClr val="bg1"/>
                </a:solidFill>
                <a:ea typeface="Calibri" panose="020F0502020204030204" pitchFamily="34" charset="0"/>
                <a:cs typeface="Times New Roman (Body CS)"/>
              </a:rPr>
              <a:t>Enhance and reflect on our role as researchers </a:t>
            </a:r>
          </a:p>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08B8E2-D829-440B-A126-D2106BBC096A}" type="slidenum">
              <a:rPr kumimoji="0" lang="en-Z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A"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8159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29C53A-EDC4-7141-9E36-F64775B4BDA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4501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2929" y="5260988"/>
            <a:ext cx="6553968" cy="4304445"/>
          </a:xfrm>
        </p:spPr>
        <p:txBody>
          <a:bodyPr/>
          <a:lstStyle/>
          <a:p>
            <a:r>
              <a:rPr lang="en-US" dirty="0">
                <a:solidFill>
                  <a:srgbClr val="000000"/>
                </a:solidFill>
              </a:rPr>
              <a:t>Globally competitive</a:t>
            </a:r>
          </a:p>
          <a:p>
            <a:r>
              <a:rPr lang="en-US" dirty="0">
                <a:solidFill>
                  <a:srgbClr val="000000"/>
                </a:solidFill>
              </a:rPr>
              <a:t>Research excellence</a:t>
            </a:r>
          </a:p>
          <a:p>
            <a:r>
              <a:rPr lang="en-US" dirty="0">
                <a:solidFill>
                  <a:srgbClr val="000000"/>
                </a:solidFill>
              </a:rPr>
              <a:t>Accountability</a:t>
            </a:r>
          </a:p>
          <a:p>
            <a:r>
              <a:rPr lang="en-US" dirty="0">
                <a:solidFill>
                  <a:srgbClr val="000000"/>
                </a:solidFill>
              </a:rPr>
              <a:t>Reflect on what it means to be a researcher now</a:t>
            </a:r>
          </a:p>
          <a:p>
            <a:r>
              <a:rPr lang="en-US" dirty="0">
                <a:solidFill>
                  <a:srgbClr val="000000"/>
                </a:solidFill>
              </a:rPr>
              <a:t>Show our value and legitimacy as knowledge creators</a:t>
            </a:r>
          </a:p>
          <a:p>
            <a:r>
              <a:rPr lang="en-US" dirty="0">
                <a:solidFill>
                  <a:srgbClr val="000000"/>
                </a:solidFill>
              </a:rPr>
              <a:t>Fulfil our mandate to improve social conditions through SSH</a:t>
            </a:r>
          </a:p>
          <a:p>
            <a:pPr defTabSz="963595">
              <a:defRPr/>
            </a:pPr>
            <a:endParaRPr lang="en-ZA" altLang="ko-KR" dirty="0">
              <a:solidFill>
                <a:prstClr val="white"/>
              </a:solidFill>
              <a:cs typeface="Arial" pitchFamily="34" charset="0"/>
            </a:endParaRPr>
          </a:p>
          <a:p>
            <a:pPr defTabSz="963595">
              <a:defRPr/>
            </a:pPr>
            <a:endParaRPr lang="en-ZA" altLang="ko-KR" dirty="0">
              <a:solidFill>
                <a:schemeClr val="tx1">
                  <a:lumMod val="75000"/>
                  <a:lumOff val="25000"/>
                </a:schemeClr>
              </a:solidFill>
              <a:cs typeface="Arial" pitchFamily="34" charset="0"/>
            </a:endParaRPr>
          </a:p>
          <a:p>
            <a:pPr defTabSz="963595">
              <a:defRPr/>
            </a:pPr>
            <a:r>
              <a:rPr lang="en-ZA" altLang="ko-KR" dirty="0">
                <a:solidFill>
                  <a:schemeClr val="tx1">
                    <a:lumMod val="75000"/>
                    <a:lumOff val="25000"/>
                  </a:schemeClr>
                </a:solidFill>
                <a:cs typeface="Arial" pitchFamily="34" charset="0"/>
              </a:rPr>
              <a:t>“Being at that cutting edge requires us to address the </a:t>
            </a:r>
            <a:r>
              <a:rPr lang="en-ZA" altLang="ko-KR" b="1" dirty="0">
                <a:solidFill>
                  <a:schemeClr val="tx1">
                    <a:lumMod val="75000"/>
                    <a:lumOff val="25000"/>
                  </a:schemeClr>
                </a:solidFill>
                <a:cs typeface="Arial" pitchFamily="34" charset="0"/>
              </a:rPr>
              <a:t>impact visibility </a:t>
            </a:r>
            <a:r>
              <a:rPr lang="en-ZA" altLang="ko-KR" dirty="0">
                <a:solidFill>
                  <a:schemeClr val="tx1">
                    <a:lumMod val="75000"/>
                    <a:lumOff val="25000"/>
                  </a:schemeClr>
                </a:solidFill>
                <a:cs typeface="Arial" pitchFamily="34" charset="0"/>
              </a:rPr>
              <a:t>and </a:t>
            </a:r>
            <a:r>
              <a:rPr lang="en-ZA" altLang="ko-KR" b="1" dirty="0">
                <a:solidFill>
                  <a:schemeClr val="tx1">
                    <a:lumMod val="75000"/>
                    <a:lumOff val="25000"/>
                  </a:schemeClr>
                </a:solidFill>
                <a:cs typeface="Arial" pitchFamily="34" charset="0"/>
              </a:rPr>
              <a:t>relevance </a:t>
            </a:r>
            <a:r>
              <a:rPr lang="en-ZA" altLang="ko-KR" dirty="0">
                <a:solidFill>
                  <a:schemeClr val="tx1">
                    <a:lumMod val="75000"/>
                    <a:lumOff val="25000"/>
                  </a:schemeClr>
                </a:solidFill>
                <a:cs typeface="Arial" pitchFamily="34" charset="0"/>
              </a:rPr>
              <a:t>of the research we conduct in the social sciences and humanities for the public good.” </a:t>
            </a:r>
            <a:endParaRPr lang="ko-KR" altLang="en-US" dirty="0">
              <a:solidFill>
                <a:schemeClr val="tx1">
                  <a:lumMod val="75000"/>
                  <a:lumOff val="25000"/>
                </a:schemeClr>
              </a:solidFill>
              <a:cs typeface="Arial" pitchFamily="34" charset="0"/>
            </a:endParaRPr>
          </a:p>
          <a:p>
            <a:endParaRPr lang="en-ZA" dirty="0"/>
          </a:p>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08B8E2-D829-440B-A126-D2106BBC096A}" type="slidenum">
              <a:rPr kumimoji="0" lang="en-ZA"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74218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latin typeface="+mn-lt"/>
              </a:rPr>
              <a:t>Big Q: What is “impact” for the social sciences and humanities. </a:t>
            </a:r>
            <a:r>
              <a:rPr lang="en-US" dirty="0">
                <a:solidFill>
                  <a:schemeClr val="bg1"/>
                </a:solidFill>
              </a:rPr>
              <a:t>What about social impact? </a:t>
            </a:r>
          </a:p>
          <a:p>
            <a:pPr lvl="1"/>
            <a:r>
              <a:rPr lang="en-US" sz="2800" dirty="0">
                <a:solidFill>
                  <a:schemeClr val="bg1"/>
                </a:solidFill>
              </a:rPr>
              <a:t>Raise awareness/thinking on social problems</a:t>
            </a:r>
          </a:p>
          <a:p>
            <a:pPr lvl="1"/>
            <a:r>
              <a:rPr lang="en-US" sz="2800" dirty="0">
                <a:solidFill>
                  <a:schemeClr val="bg1"/>
                </a:solidFill>
              </a:rPr>
              <a:t>Provide information to the public ultimately to change behavior (societal evidence-led decision making)</a:t>
            </a:r>
          </a:p>
          <a:p>
            <a:pPr lvl="1"/>
            <a:r>
              <a:rPr lang="en-US" sz="2800" dirty="0">
                <a:solidFill>
                  <a:schemeClr val="bg1"/>
                </a:solidFill>
              </a:rPr>
              <a:t>Develop methodologies and approaches to do so? </a:t>
            </a:r>
          </a:p>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29C53A-EDC4-7141-9E36-F64775B4BDA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984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29C53A-EDC4-7141-9E36-F64775B4BDA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107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solidFill>
                  <a:schemeClr val="bg1"/>
                </a:solidFill>
              </a:rPr>
              <a:t>For instance, there was a time lag of about thirty years between the discovery of DNA and the development of technology for DNA fingerprinting (see Penfield et al., 2014). A similar situation may be true for other fields of research in the Social Sciences and Humanities, Science and Technology, etc.</a:t>
            </a:r>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29C53A-EDC4-7141-9E36-F64775B4BDAC}"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133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30-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5514673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30-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31723806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30-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1806862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2" y="3"/>
            <a:ext cx="12192000" cy="6858000"/>
          </a:xfrm>
        </p:spPr>
        <p:txBody>
          <a:bodyPr/>
          <a:lstStyle/>
          <a:p>
            <a:r>
              <a:rPr lang="de-DE"/>
              <a:t>Bild durch Klicken auf Symbol hinzufügen</a:t>
            </a:r>
            <a:endParaRPr lang="de-DE" dirty="0"/>
          </a:p>
        </p:txBody>
      </p:sp>
      <p:sp>
        <p:nvSpPr>
          <p:cNvPr id="6" name="Rectangle avec un coin arrondi 5">
            <a:extLst>
              <a:ext uri="{FF2B5EF4-FFF2-40B4-BE49-F238E27FC236}">
                <a16:creationId xmlns:a16="http://schemas.microsoft.com/office/drawing/2014/main" id="{438BE31E-4BCC-F94C-BF8F-1FA4FD7786E5}"/>
              </a:ext>
            </a:extLst>
          </p:cNvPr>
          <p:cNvSpPr/>
          <p:nvPr/>
        </p:nvSpPr>
        <p:spPr>
          <a:xfrm rot="10800000" flipH="1">
            <a:off x="1" y="761815"/>
            <a:ext cx="11653331" cy="2350286"/>
          </a:xfrm>
          <a:prstGeom prst="round1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263"/>
          </a:p>
        </p:txBody>
      </p:sp>
      <p:sp>
        <p:nvSpPr>
          <p:cNvPr id="3" name="Textplatzhalter 2"/>
          <p:cNvSpPr>
            <a:spLocks noGrp="1"/>
          </p:cNvSpPr>
          <p:nvPr>
            <p:ph type="body" sz="quarter" idx="11"/>
          </p:nvPr>
        </p:nvSpPr>
        <p:spPr>
          <a:xfrm>
            <a:off x="964863" y="1139160"/>
            <a:ext cx="10714838" cy="1795868"/>
          </a:xfrm>
        </p:spPr>
        <p:txBody>
          <a:bodyPr/>
          <a:lstStyle>
            <a:lvl1pPr marL="0" indent="0">
              <a:buNone/>
              <a:defRPr sz="6842" b="1" i="0">
                <a:latin typeface="Avenir Next Condensed" charset="0"/>
                <a:ea typeface="Avenir Next Condensed" charset="0"/>
                <a:cs typeface="Avenir Next Condensed" charset="0"/>
              </a:defRPr>
            </a:lvl1pPr>
            <a:lvl2pPr marL="521368" indent="0">
              <a:buNone/>
              <a:defRPr sz="6842" b="1" i="0">
                <a:latin typeface="Avenir Next Condensed" charset="0"/>
                <a:ea typeface="Avenir Next Condensed" charset="0"/>
                <a:cs typeface="Avenir Next Condensed" charset="0"/>
              </a:defRPr>
            </a:lvl2pPr>
            <a:lvl3pPr marL="1042737" indent="0">
              <a:buNone/>
              <a:defRPr sz="6842" b="1" i="0">
                <a:latin typeface="Avenir Next Condensed" charset="0"/>
                <a:ea typeface="Avenir Next Condensed" charset="0"/>
                <a:cs typeface="Avenir Next Condensed" charset="0"/>
              </a:defRPr>
            </a:lvl3pPr>
            <a:lvl4pPr marL="1564104" indent="0">
              <a:buNone/>
              <a:defRPr sz="6842" b="1" i="0">
                <a:latin typeface="Avenir Next Condensed" charset="0"/>
                <a:ea typeface="Avenir Next Condensed" charset="0"/>
                <a:cs typeface="Avenir Next Condensed" charset="0"/>
              </a:defRPr>
            </a:lvl4pPr>
            <a:lvl5pPr marL="2085473" indent="0">
              <a:buNone/>
              <a:defRPr sz="6842" b="1" i="0">
                <a:latin typeface="Avenir Next Condensed" charset="0"/>
                <a:ea typeface="Avenir Next Condensed" charset="0"/>
                <a:cs typeface="Avenir Next Condensed" charset="0"/>
              </a:defRPr>
            </a:lvl5pPr>
          </a:lstStyle>
          <a:p>
            <a:pPr lvl="0"/>
            <a:r>
              <a:rPr lang="de-DE" dirty="0"/>
              <a:t>Mastertextformat bearbeiten</a:t>
            </a:r>
          </a:p>
        </p:txBody>
      </p:sp>
    </p:spTree>
    <p:extLst>
      <p:ext uri="{BB962C8B-B14F-4D97-AF65-F5344CB8AC3E}">
        <p14:creationId xmlns:p14="http://schemas.microsoft.com/office/powerpoint/2010/main" val="4381691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Lauftext">
    <p:spTree>
      <p:nvGrpSpPr>
        <p:cNvPr id="1" name=""/>
        <p:cNvGrpSpPr/>
        <p:nvPr/>
      </p:nvGrpSpPr>
      <p:grpSpPr>
        <a:xfrm>
          <a:off x="0" y="0"/>
          <a:ext cx="0" cy="0"/>
          <a:chOff x="0" y="0"/>
          <a:chExt cx="0" cy="0"/>
        </a:xfrm>
      </p:grpSpPr>
      <p:sp>
        <p:nvSpPr>
          <p:cNvPr id="6" name="Fußzeilenplatzhalter 4"/>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
        <p:nvSpPr>
          <p:cNvPr id="2" name="Titel 1"/>
          <p:cNvSpPr>
            <a:spLocks noGrp="1"/>
          </p:cNvSpPr>
          <p:nvPr>
            <p:ph type="title"/>
          </p:nvPr>
        </p:nvSpPr>
        <p:spPr>
          <a:xfrm>
            <a:off x="964863" y="365798"/>
            <a:ext cx="10873947" cy="1324939"/>
          </a:xfrm>
        </p:spPr>
        <p:txBody>
          <a:bodyPr/>
          <a:lstStyle>
            <a:lvl1pPr>
              <a:defRPr b="1" i="0">
                <a:latin typeface="Avenir Next Condensed" charset="0"/>
                <a:ea typeface="Avenir Next Condensed" charset="0"/>
                <a:cs typeface="Avenir Next Condensed" charset="0"/>
              </a:defRPr>
            </a:lvl1pPr>
          </a:lstStyle>
          <a:p>
            <a:r>
              <a:rPr lang="de-DE"/>
              <a:t>Mastertitelformat bearbeiten</a:t>
            </a:r>
            <a:endParaRPr lang="de-DE" dirty="0"/>
          </a:p>
        </p:txBody>
      </p:sp>
      <p:sp>
        <p:nvSpPr>
          <p:cNvPr id="4" name="Textplatzhalter 3"/>
          <p:cNvSpPr>
            <a:spLocks noGrp="1"/>
          </p:cNvSpPr>
          <p:nvPr>
            <p:ph type="body" sz="quarter" idx="12"/>
          </p:nvPr>
        </p:nvSpPr>
        <p:spPr>
          <a:xfrm>
            <a:off x="964861" y="1833978"/>
            <a:ext cx="10873947" cy="4065259"/>
          </a:xfrm>
        </p:spPr>
        <p:txBody>
          <a:bodyPr/>
          <a:lstStyle>
            <a:lvl1pPr marL="0" indent="0">
              <a:buNone/>
              <a:defRPr b="0" i="0">
                <a:latin typeface="Avenir Next Condensed" charset="0"/>
                <a:ea typeface="Avenir Next Condensed" charset="0"/>
                <a:cs typeface="Avenir Next Condensed" charset="0"/>
              </a:defRPr>
            </a:lvl1pPr>
            <a:lvl2pPr marL="521368" indent="0">
              <a:buNone/>
              <a:defRPr/>
            </a:lvl2pPr>
            <a:lvl3pPr marL="1042737" indent="0">
              <a:buNone/>
              <a:defRPr/>
            </a:lvl3pPr>
            <a:lvl4pPr marL="1564104" indent="0">
              <a:buNone/>
              <a:defRPr/>
            </a:lvl4pPr>
            <a:lvl5pPr marL="2085473" indent="0">
              <a:buNone/>
              <a:defRPr/>
            </a:lvl5pPr>
          </a:lstStyle>
          <a:p>
            <a:pPr lvl="0"/>
            <a:r>
              <a:rPr lang="de-DE"/>
              <a:t>Mastertextformat bearbeiten</a:t>
            </a:r>
          </a:p>
        </p:txBody>
      </p:sp>
    </p:spTree>
    <p:extLst>
      <p:ext uri="{BB962C8B-B14F-4D97-AF65-F5344CB8AC3E}">
        <p14:creationId xmlns:p14="http://schemas.microsoft.com/office/powerpoint/2010/main" val="2821832583"/>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tertitel und Text">
    <p:spTree>
      <p:nvGrpSpPr>
        <p:cNvPr id="1" name=""/>
        <p:cNvGrpSpPr/>
        <p:nvPr/>
      </p:nvGrpSpPr>
      <p:grpSpPr>
        <a:xfrm>
          <a:off x="0" y="0"/>
          <a:ext cx="0" cy="0"/>
          <a:chOff x="0" y="0"/>
          <a:chExt cx="0" cy="0"/>
        </a:xfrm>
      </p:grpSpPr>
      <p:sp>
        <p:nvSpPr>
          <p:cNvPr id="3" name="Inhaltsplatzhalter 2"/>
          <p:cNvSpPr>
            <a:spLocks noGrp="1"/>
          </p:cNvSpPr>
          <p:nvPr>
            <p:ph idx="1"/>
          </p:nvPr>
        </p:nvSpPr>
        <p:spPr>
          <a:xfrm>
            <a:off x="964861" y="2391977"/>
            <a:ext cx="10873947" cy="3515698"/>
          </a:xfrm>
        </p:spPr>
        <p:txBody>
          <a:bodyPr/>
          <a:lstStyle>
            <a:lvl1pPr>
              <a:defRPr b="0" i="0">
                <a:latin typeface="Avenir Next Condensed" charset="0"/>
                <a:ea typeface="Avenir Next Condensed" charset="0"/>
                <a:cs typeface="Avenir Next Condensed" charset="0"/>
              </a:defRPr>
            </a:lvl1pPr>
            <a:lvl2pPr>
              <a:defRPr sz="1824" b="0" i="0">
                <a:latin typeface="Avenir Next Condensed" charset="0"/>
                <a:ea typeface="Avenir Next Condensed" charset="0"/>
                <a:cs typeface="Avenir Next Condensed" charset="0"/>
              </a:defRPr>
            </a:lvl2pPr>
            <a:lvl3pPr>
              <a:defRPr sz="1824" b="0" i="0">
                <a:latin typeface="Avenir Next Condensed" charset="0"/>
                <a:ea typeface="Avenir Next Condensed" charset="0"/>
                <a:cs typeface="Avenir Next Condensed" charset="0"/>
              </a:defRPr>
            </a:lvl3pPr>
            <a:lvl4pPr>
              <a:defRPr sz="1824" b="0" i="0">
                <a:latin typeface="Avenir Next Condensed" charset="0"/>
                <a:ea typeface="Avenir Next Condensed" charset="0"/>
                <a:cs typeface="Avenir Next Condensed" charset="0"/>
              </a:defRPr>
            </a:lvl4pPr>
            <a:lvl5pPr>
              <a:defRPr sz="1824" b="0" i="0">
                <a:latin typeface="Avenir Next Condensed" charset="0"/>
                <a:ea typeface="Avenir Next Condensed" charset="0"/>
                <a:cs typeface="Avenir Next Condensed"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p:cNvSpPr>
            <a:spLocks noGrp="1"/>
          </p:cNvSpPr>
          <p:nvPr>
            <p:ph type="title"/>
          </p:nvPr>
        </p:nvSpPr>
        <p:spPr>
          <a:xfrm>
            <a:off x="964863" y="365798"/>
            <a:ext cx="10873947" cy="1324939"/>
          </a:xfrm>
        </p:spPr>
        <p:txBody>
          <a:bodyPr/>
          <a:lstStyle>
            <a:lvl1pPr>
              <a:defRPr b="1" i="0">
                <a:latin typeface="Avenir Next Condensed" charset="0"/>
                <a:ea typeface="Avenir Next Condensed" charset="0"/>
                <a:cs typeface="Avenir Next Condensed" charset="0"/>
              </a:defRPr>
            </a:lvl1pPr>
          </a:lstStyle>
          <a:p>
            <a:r>
              <a:rPr lang="de-DE"/>
              <a:t>Mastertitelformat bearbeiten</a:t>
            </a:r>
            <a:endParaRPr lang="de-DE" dirty="0"/>
          </a:p>
        </p:txBody>
      </p:sp>
      <p:sp>
        <p:nvSpPr>
          <p:cNvPr id="5" name="Textplatzhalter 4"/>
          <p:cNvSpPr>
            <a:spLocks noGrp="1"/>
          </p:cNvSpPr>
          <p:nvPr>
            <p:ph type="body" sz="quarter" idx="12"/>
          </p:nvPr>
        </p:nvSpPr>
        <p:spPr>
          <a:xfrm>
            <a:off x="964863" y="1833979"/>
            <a:ext cx="10873947" cy="488498"/>
          </a:xfrm>
        </p:spPr>
        <p:txBody>
          <a:bodyPr/>
          <a:lstStyle>
            <a:lvl1pPr>
              <a:defRPr b="1" i="0">
                <a:latin typeface="Avenir Next Condensed" charset="0"/>
                <a:ea typeface="Avenir Next Condensed" charset="0"/>
                <a:cs typeface="Avenir Next Condensed" charset="0"/>
              </a:defRPr>
            </a:lvl1pPr>
            <a:lvl5pPr marL="2346157" marR="0" indent="-260684" algn="l" defTabSz="1042737" rtl="0" eaLnBrk="1" fontAlgn="auto" latinLnBrk="0" hangingPunct="1">
              <a:lnSpc>
                <a:spcPct val="90000"/>
              </a:lnSpc>
              <a:spcBef>
                <a:spcPts val="571"/>
              </a:spcBef>
              <a:spcAft>
                <a:spcPts val="0"/>
              </a:spcAft>
              <a:buClrTx/>
              <a:buSzTx/>
              <a:buFont typeface="Menlo-Regular" charset="0"/>
              <a:buNone/>
              <a:tabLst/>
              <a:defRPr/>
            </a:lvl5pPr>
          </a:lstStyle>
          <a:p>
            <a:pPr marL="260684" marR="0" lvl="0" indent="-260684" algn="l" defTabSz="1042737" rtl="0" eaLnBrk="1" fontAlgn="auto" latinLnBrk="0" hangingPunct="1">
              <a:lnSpc>
                <a:spcPct val="90000"/>
              </a:lnSpc>
              <a:spcBef>
                <a:spcPts val="571"/>
              </a:spcBef>
              <a:spcAft>
                <a:spcPts val="0"/>
              </a:spcAft>
              <a:buClrTx/>
              <a:buSzTx/>
              <a:buFont typeface="Menlo-Regular" charset="0"/>
              <a:buNone/>
              <a:tabLst/>
              <a:defRPr/>
            </a:pPr>
            <a:r>
              <a:rPr lang="de-DE"/>
              <a:t>Mastertextformat bearbeiten</a:t>
            </a:r>
          </a:p>
          <a:p>
            <a:pPr marL="260684" marR="0" lvl="1" indent="-260684" algn="l" defTabSz="1042737" rtl="0" eaLnBrk="1" fontAlgn="auto" latinLnBrk="0" hangingPunct="1">
              <a:lnSpc>
                <a:spcPct val="90000"/>
              </a:lnSpc>
              <a:spcBef>
                <a:spcPts val="571"/>
              </a:spcBef>
              <a:spcAft>
                <a:spcPts val="0"/>
              </a:spcAft>
              <a:buClrTx/>
              <a:buSzTx/>
              <a:buFont typeface="Menlo-Regular" charset="0"/>
              <a:buNone/>
              <a:tabLst/>
              <a:defRPr/>
            </a:pPr>
            <a:r>
              <a:rPr lang="de-DE"/>
              <a:t>Zweite Ebene</a:t>
            </a:r>
          </a:p>
        </p:txBody>
      </p:sp>
      <p:sp>
        <p:nvSpPr>
          <p:cNvPr id="6" name="Fußzeilenplatzhalter 4">
            <a:extLst>
              <a:ext uri="{FF2B5EF4-FFF2-40B4-BE49-F238E27FC236}">
                <a16:creationId xmlns:a16="http://schemas.microsoft.com/office/drawing/2014/main" id="{9AD4F4A2-4DCA-3245-884D-A28E525217D9}"/>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3691141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Text">
    <p:spTree>
      <p:nvGrpSpPr>
        <p:cNvPr id="1" name=""/>
        <p:cNvGrpSpPr/>
        <p:nvPr/>
      </p:nvGrpSpPr>
      <p:grpSpPr>
        <a:xfrm>
          <a:off x="0" y="0"/>
          <a:ext cx="0" cy="0"/>
          <a:chOff x="0" y="0"/>
          <a:chExt cx="0" cy="0"/>
        </a:xfrm>
      </p:grpSpPr>
      <p:sp>
        <p:nvSpPr>
          <p:cNvPr id="2" name="Titel 1"/>
          <p:cNvSpPr>
            <a:spLocks noGrp="1"/>
          </p:cNvSpPr>
          <p:nvPr>
            <p:ph type="title"/>
          </p:nvPr>
        </p:nvSpPr>
        <p:spPr>
          <a:xfrm>
            <a:off x="964863" y="365798"/>
            <a:ext cx="10873947" cy="1324939"/>
          </a:xfrm>
        </p:spPr>
        <p:txBody>
          <a:bodyPr/>
          <a:lstStyle/>
          <a:p>
            <a:r>
              <a:rPr lang="de-DE"/>
              <a:t>Mastertitelformat bearbeiten</a:t>
            </a:r>
            <a:endParaRPr lang="de-DE" dirty="0"/>
          </a:p>
        </p:txBody>
      </p:sp>
      <p:sp>
        <p:nvSpPr>
          <p:cNvPr id="4" name="Textplatzhalter 3"/>
          <p:cNvSpPr>
            <a:spLocks noGrp="1"/>
          </p:cNvSpPr>
          <p:nvPr>
            <p:ph type="body" sz="quarter" idx="12"/>
          </p:nvPr>
        </p:nvSpPr>
        <p:spPr>
          <a:xfrm>
            <a:off x="964861" y="1833976"/>
            <a:ext cx="10873947" cy="40739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Fußzeilenplatzhalter 4">
            <a:extLst>
              <a:ext uri="{FF2B5EF4-FFF2-40B4-BE49-F238E27FC236}">
                <a16:creationId xmlns:a16="http://schemas.microsoft.com/office/drawing/2014/main" id="{19775F0B-D22C-7540-812C-B6A8505C8518}"/>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3907884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Diagramm/Bild/Tabelle">
    <p:spTree>
      <p:nvGrpSpPr>
        <p:cNvPr id="1" name=""/>
        <p:cNvGrpSpPr/>
        <p:nvPr/>
      </p:nvGrpSpPr>
      <p:grpSpPr>
        <a:xfrm>
          <a:off x="0" y="0"/>
          <a:ext cx="0" cy="0"/>
          <a:chOff x="0" y="0"/>
          <a:chExt cx="0" cy="0"/>
        </a:xfrm>
      </p:grpSpPr>
      <p:sp>
        <p:nvSpPr>
          <p:cNvPr id="2" name="Titel 1"/>
          <p:cNvSpPr>
            <a:spLocks noGrp="1"/>
          </p:cNvSpPr>
          <p:nvPr>
            <p:ph type="title"/>
          </p:nvPr>
        </p:nvSpPr>
        <p:spPr>
          <a:xfrm>
            <a:off x="964863" y="365798"/>
            <a:ext cx="10873947" cy="1324939"/>
          </a:xfrm>
        </p:spPr>
        <p:txBody>
          <a:bodyPr/>
          <a:lstStyle/>
          <a:p>
            <a:r>
              <a:rPr lang="de-DE"/>
              <a:t>Mastertitelformat bearbeiten</a:t>
            </a:r>
            <a:endParaRPr lang="de-DE" dirty="0"/>
          </a:p>
        </p:txBody>
      </p:sp>
      <p:sp>
        <p:nvSpPr>
          <p:cNvPr id="4" name="Inhaltsplatzhalter 3"/>
          <p:cNvSpPr>
            <a:spLocks noGrp="1"/>
          </p:cNvSpPr>
          <p:nvPr>
            <p:ph sz="quarter" idx="13"/>
          </p:nvPr>
        </p:nvSpPr>
        <p:spPr>
          <a:xfrm>
            <a:off x="964861" y="1843393"/>
            <a:ext cx="10873947" cy="40278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4">
            <a:extLst>
              <a:ext uri="{FF2B5EF4-FFF2-40B4-BE49-F238E27FC236}">
                <a16:creationId xmlns:a16="http://schemas.microsoft.com/office/drawing/2014/main" id="{0BBA6F09-20C5-ED41-9E65-3BEA7A6A5A47}"/>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9805127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tertitel Text 2-spalti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964862" y="1833976"/>
            <a:ext cx="5007138" cy="447023"/>
          </a:xfrm>
        </p:spPr>
        <p:txBody>
          <a:bodyPr anchor="t" anchorCtr="0"/>
          <a:lstStyle>
            <a:lvl1pPr marL="0" indent="0">
              <a:buNone/>
              <a:defRPr sz="2281" b="1"/>
            </a:lvl1pPr>
            <a:lvl2pPr marL="521368" indent="0">
              <a:buNone/>
              <a:defRPr sz="2281" b="1"/>
            </a:lvl2pPr>
            <a:lvl3pPr marL="1042737" indent="0">
              <a:buNone/>
              <a:defRPr sz="2053" b="1"/>
            </a:lvl3pPr>
            <a:lvl4pPr marL="1564104" indent="0">
              <a:buNone/>
              <a:defRPr sz="1824" b="1"/>
            </a:lvl4pPr>
            <a:lvl5pPr marL="2085473" indent="0">
              <a:buNone/>
              <a:defRPr sz="1824" b="1"/>
            </a:lvl5pPr>
            <a:lvl6pPr marL="2606841" indent="0">
              <a:buNone/>
              <a:defRPr sz="1824" b="1"/>
            </a:lvl6pPr>
            <a:lvl7pPr marL="3128209" indent="0">
              <a:buNone/>
              <a:defRPr sz="1824" b="1"/>
            </a:lvl7pPr>
            <a:lvl8pPr marL="3649578" indent="0">
              <a:buNone/>
              <a:defRPr sz="1824" b="1"/>
            </a:lvl8pPr>
            <a:lvl9pPr marL="4170945" indent="0">
              <a:buNone/>
              <a:defRPr sz="1824" b="1"/>
            </a:lvl9pPr>
          </a:lstStyle>
          <a:p>
            <a:pPr lvl="0"/>
            <a:r>
              <a:rPr lang="de-DE"/>
              <a:t>Mastertextformat bearbeiten</a:t>
            </a:r>
          </a:p>
        </p:txBody>
      </p:sp>
      <p:sp>
        <p:nvSpPr>
          <p:cNvPr id="4" name="Inhaltsplatzhalter 3"/>
          <p:cNvSpPr>
            <a:spLocks noGrp="1"/>
          </p:cNvSpPr>
          <p:nvPr>
            <p:ph sz="half" idx="2"/>
          </p:nvPr>
        </p:nvSpPr>
        <p:spPr>
          <a:xfrm>
            <a:off x="964862" y="2396590"/>
            <a:ext cx="5007138" cy="349265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4"/>
          <p:cNvSpPr>
            <a:spLocks noGrp="1"/>
          </p:cNvSpPr>
          <p:nvPr>
            <p:ph type="body" sz="quarter" idx="3"/>
          </p:nvPr>
        </p:nvSpPr>
        <p:spPr>
          <a:xfrm>
            <a:off x="6172935" y="1833976"/>
            <a:ext cx="5665874" cy="447023"/>
          </a:xfrm>
        </p:spPr>
        <p:txBody>
          <a:bodyPr anchor="t" anchorCtr="0"/>
          <a:lstStyle>
            <a:lvl1pPr marL="0" indent="0">
              <a:buNone/>
              <a:defRPr sz="2281" b="1"/>
            </a:lvl1pPr>
            <a:lvl2pPr marL="521368" indent="0">
              <a:buNone/>
              <a:defRPr sz="2281" b="1"/>
            </a:lvl2pPr>
            <a:lvl3pPr marL="1042737" indent="0">
              <a:buNone/>
              <a:defRPr sz="2053" b="1"/>
            </a:lvl3pPr>
            <a:lvl4pPr marL="1564104" indent="0">
              <a:buNone/>
              <a:defRPr sz="1824" b="1"/>
            </a:lvl4pPr>
            <a:lvl5pPr marL="2085473" indent="0">
              <a:buNone/>
              <a:defRPr sz="1824" b="1"/>
            </a:lvl5pPr>
            <a:lvl6pPr marL="2606841" indent="0">
              <a:buNone/>
              <a:defRPr sz="1824" b="1"/>
            </a:lvl6pPr>
            <a:lvl7pPr marL="3128209" indent="0">
              <a:buNone/>
              <a:defRPr sz="1824" b="1"/>
            </a:lvl7pPr>
            <a:lvl8pPr marL="3649578" indent="0">
              <a:buNone/>
              <a:defRPr sz="1824" b="1"/>
            </a:lvl8pPr>
            <a:lvl9pPr marL="4170945" indent="0">
              <a:buNone/>
              <a:defRPr sz="1824" b="1"/>
            </a:lvl9pPr>
          </a:lstStyle>
          <a:p>
            <a:pPr lvl="0"/>
            <a:r>
              <a:rPr lang="de-DE"/>
              <a:t>Mastertextformat bearbeiten</a:t>
            </a:r>
          </a:p>
        </p:txBody>
      </p:sp>
      <p:sp>
        <p:nvSpPr>
          <p:cNvPr id="6" name="Inhaltsplatzhalter 5"/>
          <p:cNvSpPr>
            <a:spLocks noGrp="1"/>
          </p:cNvSpPr>
          <p:nvPr>
            <p:ph sz="quarter" idx="4"/>
          </p:nvPr>
        </p:nvSpPr>
        <p:spPr>
          <a:xfrm>
            <a:off x="6172935" y="2396590"/>
            <a:ext cx="5665874" cy="349265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itel 6"/>
          <p:cNvSpPr>
            <a:spLocks noGrp="1"/>
          </p:cNvSpPr>
          <p:nvPr>
            <p:ph type="title"/>
          </p:nvPr>
        </p:nvSpPr>
        <p:spPr>
          <a:xfrm>
            <a:off x="964863" y="365798"/>
            <a:ext cx="10840832" cy="1324939"/>
          </a:xfrm>
        </p:spPr>
        <p:txBody>
          <a:bodyPr>
            <a:noAutofit/>
          </a:bodyPr>
          <a:lstStyle/>
          <a:p>
            <a:r>
              <a:rPr lang="de-DE"/>
              <a:t>Mastertitelformat bearbeiten</a:t>
            </a:r>
            <a:endParaRPr lang="de-DE" dirty="0"/>
          </a:p>
        </p:txBody>
      </p:sp>
      <p:sp>
        <p:nvSpPr>
          <p:cNvPr id="8" name="Fußzeilenplatzhalter 4">
            <a:extLst>
              <a:ext uri="{FF2B5EF4-FFF2-40B4-BE49-F238E27FC236}">
                <a16:creationId xmlns:a16="http://schemas.microsoft.com/office/drawing/2014/main" id="{523FCFE3-5044-1348-A072-CD5AB3994BEB}"/>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221928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Text 2-spaltig">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964863" y="1835128"/>
            <a:ext cx="5007136" cy="410039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6181987" y="1835128"/>
            <a:ext cx="5656822" cy="410039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itel 4"/>
          <p:cNvSpPr>
            <a:spLocks noGrp="1"/>
          </p:cNvSpPr>
          <p:nvPr>
            <p:ph type="title"/>
          </p:nvPr>
        </p:nvSpPr>
        <p:spPr>
          <a:xfrm>
            <a:off x="964861" y="365798"/>
            <a:ext cx="10873947" cy="1324939"/>
          </a:xfrm>
        </p:spPr>
        <p:txBody>
          <a:bodyPr/>
          <a:lstStyle/>
          <a:p>
            <a:r>
              <a:rPr lang="de-DE"/>
              <a:t>Mastertitelformat bearbeiten</a:t>
            </a:r>
            <a:endParaRPr lang="de-DE" dirty="0"/>
          </a:p>
        </p:txBody>
      </p:sp>
      <p:sp>
        <p:nvSpPr>
          <p:cNvPr id="6" name="Fußzeilenplatzhalter 4">
            <a:extLst>
              <a:ext uri="{FF2B5EF4-FFF2-40B4-BE49-F238E27FC236}">
                <a16:creationId xmlns:a16="http://schemas.microsoft.com/office/drawing/2014/main" id="{DC82DB91-87A2-0743-A796-C88DC3689876}"/>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16336313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el, Untertitel Text 3-spalti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964861" y="1855381"/>
            <a:ext cx="3414483" cy="536024"/>
          </a:xfrm>
        </p:spPr>
        <p:txBody>
          <a:bodyPr anchor="t" anchorCtr="0"/>
          <a:lstStyle>
            <a:lvl1pPr marL="0" indent="0">
              <a:buNone/>
              <a:defRPr sz="2053" b="1"/>
            </a:lvl1pPr>
            <a:lvl2pPr marL="521368" indent="0">
              <a:buNone/>
              <a:defRPr sz="2281" b="1"/>
            </a:lvl2pPr>
            <a:lvl3pPr marL="1042737" indent="0">
              <a:buNone/>
              <a:defRPr sz="2053" b="1"/>
            </a:lvl3pPr>
            <a:lvl4pPr marL="1564104" indent="0">
              <a:buNone/>
              <a:defRPr sz="1824" b="1"/>
            </a:lvl4pPr>
            <a:lvl5pPr marL="2085473" indent="0">
              <a:buNone/>
              <a:defRPr sz="1824" b="1"/>
            </a:lvl5pPr>
            <a:lvl6pPr marL="2606841" indent="0">
              <a:buNone/>
              <a:defRPr sz="1824" b="1"/>
            </a:lvl6pPr>
            <a:lvl7pPr marL="3128209" indent="0">
              <a:buNone/>
              <a:defRPr sz="1824" b="1"/>
            </a:lvl7pPr>
            <a:lvl8pPr marL="3649578" indent="0">
              <a:buNone/>
              <a:defRPr sz="1824" b="1"/>
            </a:lvl8pPr>
            <a:lvl9pPr marL="4170945" indent="0">
              <a:buNone/>
              <a:defRPr sz="1824" b="1"/>
            </a:lvl9pPr>
          </a:lstStyle>
          <a:p>
            <a:pPr lvl="0"/>
            <a:r>
              <a:rPr lang="de-DE"/>
              <a:t>Mastertextformat bearbeiten</a:t>
            </a:r>
          </a:p>
        </p:txBody>
      </p:sp>
      <p:sp>
        <p:nvSpPr>
          <p:cNvPr id="4" name="Inhaltsplatzhalter 3"/>
          <p:cNvSpPr>
            <a:spLocks noGrp="1"/>
          </p:cNvSpPr>
          <p:nvPr>
            <p:ph sz="half" idx="2"/>
          </p:nvPr>
        </p:nvSpPr>
        <p:spPr>
          <a:xfrm>
            <a:off x="964861" y="2410989"/>
            <a:ext cx="3414483" cy="3515121"/>
          </a:xfrm>
        </p:spPr>
        <p:txBody>
          <a:bodyPr/>
          <a:lstStyle>
            <a:lvl1pPr>
              <a:defRPr sz="2053"/>
            </a:lvl1pPr>
            <a:lvl2pPr>
              <a:defRPr sz="2053"/>
            </a:lvl2pPr>
            <a:lvl3pPr>
              <a:defRPr sz="2053"/>
            </a:lvl3pPr>
            <a:lvl4pPr>
              <a:defRPr sz="2053"/>
            </a:lvl4pPr>
            <a:lvl5pPr>
              <a:defRPr sz="2053"/>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4"/>
          <p:cNvSpPr>
            <a:spLocks noGrp="1"/>
          </p:cNvSpPr>
          <p:nvPr>
            <p:ph type="body" sz="quarter" idx="3"/>
          </p:nvPr>
        </p:nvSpPr>
        <p:spPr>
          <a:xfrm>
            <a:off x="8225753" y="1855181"/>
            <a:ext cx="3579940" cy="536024"/>
          </a:xfrm>
        </p:spPr>
        <p:txBody>
          <a:bodyPr anchor="t" anchorCtr="0"/>
          <a:lstStyle>
            <a:lvl1pPr marL="0" indent="0">
              <a:buNone/>
              <a:defRPr sz="2053" b="1"/>
            </a:lvl1pPr>
            <a:lvl2pPr marL="521368" indent="0">
              <a:buNone/>
              <a:defRPr sz="2281" b="1"/>
            </a:lvl2pPr>
            <a:lvl3pPr marL="1042737" indent="0">
              <a:buNone/>
              <a:defRPr sz="2053" b="1"/>
            </a:lvl3pPr>
            <a:lvl4pPr marL="1564104" indent="0">
              <a:buNone/>
              <a:defRPr sz="1824" b="1"/>
            </a:lvl4pPr>
            <a:lvl5pPr marL="2085473" indent="0">
              <a:buNone/>
              <a:defRPr sz="1824" b="1"/>
            </a:lvl5pPr>
            <a:lvl6pPr marL="2606841" indent="0">
              <a:buNone/>
              <a:defRPr sz="1824" b="1"/>
            </a:lvl6pPr>
            <a:lvl7pPr marL="3128209" indent="0">
              <a:buNone/>
              <a:defRPr sz="1824" b="1"/>
            </a:lvl7pPr>
            <a:lvl8pPr marL="3649578" indent="0">
              <a:buNone/>
              <a:defRPr sz="1824" b="1"/>
            </a:lvl8pPr>
            <a:lvl9pPr marL="4170945" indent="0">
              <a:buNone/>
              <a:defRPr sz="1824" b="1"/>
            </a:lvl9pPr>
          </a:lstStyle>
          <a:p>
            <a:pPr lvl="0"/>
            <a:r>
              <a:rPr lang="de-DE"/>
              <a:t>Mastertextformat bearbeiten</a:t>
            </a:r>
          </a:p>
        </p:txBody>
      </p:sp>
      <p:sp>
        <p:nvSpPr>
          <p:cNvPr id="6" name="Inhaltsplatzhalter 5"/>
          <p:cNvSpPr>
            <a:spLocks noGrp="1"/>
          </p:cNvSpPr>
          <p:nvPr>
            <p:ph sz="quarter" idx="4"/>
          </p:nvPr>
        </p:nvSpPr>
        <p:spPr>
          <a:xfrm>
            <a:off x="8225753" y="2420208"/>
            <a:ext cx="3579940" cy="3505905"/>
          </a:xfrm>
        </p:spPr>
        <p:txBody>
          <a:bodyPr/>
          <a:lstStyle>
            <a:lvl1pPr>
              <a:defRPr sz="2053"/>
            </a:lvl1pPr>
            <a:lvl2pPr>
              <a:defRPr sz="2053"/>
            </a:lvl2pPr>
            <a:lvl3pPr>
              <a:defRPr sz="2053"/>
            </a:lvl3pPr>
            <a:lvl4pPr>
              <a:defRPr sz="2053"/>
            </a:lvl4pPr>
            <a:lvl5pPr>
              <a:defRPr sz="2053"/>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itel 6"/>
          <p:cNvSpPr>
            <a:spLocks noGrp="1"/>
          </p:cNvSpPr>
          <p:nvPr>
            <p:ph type="title"/>
          </p:nvPr>
        </p:nvSpPr>
        <p:spPr>
          <a:xfrm>
            <a:off x="964863" y="365798"/>
            <a:ext cx="10840832" cy="1324939"/>
          </a:xfrm>
        </p:spPr>
        <p:txBody>
          <a:bodyPr>
            <a:noAutofit/>
          </a:bodyPr>
          <a:lstStyle/>
          <a:p>
            <a:r>
              <a:rPr lang="de-DE"/>
              <a:t>Mastertitelformat bearbeiten</a:t>
            </a:r>
            <a:endParaRPr lang="de-DE" dirty="0"/>
          </a:p>
        </p:txBody>
      </p:sp>
      <p:sp>
        <p:nvSpPr>
          <p:cNvPr id="8" name="Textplatzhalter 2"/>
          <p:cNvSpPr>
            <a:spLocks noGrp="1"/>
          </p:cNvSpPr>
          <p:nvPr>
            <p:ph type="body" idx="12"/>
          </p:nvPr>
        </p:nvSpPr>
        <p:spPr>
          <a:xfrm>
            <a:off x="4611057" y="1855181"/>
            <a:ext cx="3382986" cy="536024"/>
          </a:xfrm>
        </p:spPr>
        <p:txBody>
          <a:bodyPr anchor="t" anchorCtr="0"/>
          <a:lstStyle>
            <a:lvl1pPr marL="0" indent="0">
              <a:buNone/>
              <a:defRPr sz="2053" b="1"/>
            </a:lvl1pPr>
            <a:lvl2pPr marL="521368" indent="0">
              <a:buNone/>
              <a:defRPr sz="2281" b="1"/>
            </a:lvl2pPr>
            <a:lvl3pPr marL="1042737" indent="0">
              <a:buNone/>
              <a:defRPr sz="2053" b="1"/>
            </a:lvl3pPr>
            <a:lvl4pPr marL="1564104" indent="0">
              <a:buNone/>
              <a:defRPr sz="1824" b="1"/>
            </a:lvl4pPr>
            <a:lvl5pPr marL="2085473" indent="0">
              <a:buNone/>
              <a:defRPr sz="1824" b="1"/>
            </a:lvl5pPr>
            <a:lvl6pPr marL="2606841" indent="0">
              <a:buNone/>
              <a:defRPr sz="1824" b="1"/>
            </a:lvl6pPr>
            <a:lvl7pPr marL="3128209" indent="0">
              <a:buNone/>
              <a:defRPr sz="1824" b="1"/>
            </a:lvl7pPr>
            <a:lvl8pPr marL="3649578" indent="0">
              <a:buNone/>
              <a:defRPr sz="1824" b="1"/>
            </a:lvl8pPr>
            <a:lvl9pPr marL="4170945" indent="0">
              <a:buNone/>
              <a:defRPr sz="1824" b="1"/>
            </a:lvl9pPr>
          </a:lstStyle>
          <a:p>
            <a:pPr lvl="0"/>
            <a:r>
              <a:rPr lang="de-DE"/>
              <a:t>Mastertextformat bearbeiten</a:t>
            </a:r>
          </a:p>
        </p:txBody>
      </p:sp>
      <p:sp>
        <p:nvSpPr>
          <p:cNvPr id="9" name="Inhaltsplatzhalter 3"/>
          <p:cNvSpPr>
            <a:spLocks noGrp="1"/>
          </p:cNvSpPr>
          <p:nvPr>
            <p:ph sz="half" idx="13"/>
          </p:nvPr>
        </p:nvSpPr>
        <p:spPr>
          <a:xfrm>
            <a:off x="4611057" y="2410991"/>
            <a:ext cx="3382986" cy="3505905"/>
          </a:xfrm>
        </p:spPr>
        <p:txBody>
          <a:bodyPr/>
          <a:lstStyle>
            <a:lvl1pPr>
              <a:defRPr sz="2053"/>
            </a:lvl1pPr>
            <a:lvl2pPr>
              <a:defRPr sz="2053"/>
            </a:lvl2pPr>
            <a:lvl3pPr>
              <a:defRPr sz="2053"/>
            </a:lvl3pPr>
            <a:lvl4pPr>
              <a:defRPr sz="2053"/>
            </a:lvl4pPr>
            <a:lvl5pPr>
              <a:defRPr sz="2053"/>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Fußzeilenplatzhalter 4">
            <a:extLst>
              <a:ext uri="{FF2B5EF4-FFF2-40B4-BE49-F238E27FC236}">
                <a16:creationId xmlns:a16="http://schemas.microsoft.com/office/drawing/2014/main" id="{C4310086-43D6-3647-A58E-649886A7E782}"/>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3323053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30-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24541748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el, Text 3-spaltig">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964861" y="1852210"/>
            <a:ext cx="3426069" cy="4027815"/>
          </a:xfrm>
        </p:spPr>
        <p:txBody>
          <a:bodyPr/>
          <a:lstStyle>
            <a:lvl1pPr>
              <a:defRPr sz="2053"/>
            </a:lvl1pPr>
            <a:lvl2pPr>
              <a:defRPr sz="2053"/>
            </a:lvl2pPr>
            <a:lvl3pPr>
              <a:defRPr sz="2053"/>
            </a:lvl3pPr>
            <a:lvl4pPr>
              <a:defRPr sz="2053"/>
            </a:lvl4pPr>
            <a:lvl5pPr>
              <a:defRPr sz="2053"/>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5"/>
          <p:cNvSpPr>
            <a:spLocks noGrp="1"/>
          </p:cNvSpPr>
          <p:nvPr>
            <p:ph sz="quarter" idx="4"/>
          </p:nvPr>
        </p:nvSpPr>
        <p:spPr>
          <a:xfrm>
            <a:off x="8353194" y="1852213"/>
            <a:ext cx="3452499" cy="4027816"/>
          </a:xfrm>
        </p:spPr>
        <p:txBody>
          <a:bodyPr/>
          <a:lstStyle>
            <a:lvl1pPr>
              <a:defRPr sz="2053"/>
            </a:lvl1pPr>
            <a:lvl2pPr>
              <a:defRPr sz="2053"/>
            </a:lvl2pPr>
            <a:lvl3pPr>
              <a:defRPr sz="2053"/>
            </a:lvl3pPr>
            <a:lvl4pPr>
              <a:defRPr sz="2053"/>
            </a:lvl4pPr>
            <a:lvl5pPr>
              <a:defRPr sz="2053"/>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itel 6"/>
          <p:cNvSpPr>
            <a:spLocks noGrp="1"/>
          </p:cNvSpPr>
          <p:nvPr>
            <p:ph type="title"/>
          </p:nvPr>
        </p:nvSpPr>
        <p:spPr>
          <a:xfrm>
            <a:off x="964863" y="365798"/>
            <a:ext cx="10840832" cy="1324939"/>
          </a:xfrm>
        </p:spPr>
        <p:txBody>
          <a:bodyPr>
            <a:noAutofit/>
          </a:bodyPr>
          <a:lstStyle/>
          <a:p>
            <a:r>
              <a:rPr lang="de-DE"/>
              <a:t>Mastertitelformat bearbeiten</a:t>
            </a:r>
            <a:endParaRPr lang="de-DE" dirty="0"/>
          </a:p>
        </p:txBody>
      </p:sp>
      <p:sp>
        <p:nvSpPr>
          <p:cNvPr id="9" name="Inhaltsplatzhalter 3"/>
          <p:cNvSpPr>
            <a:spLocks noGrp="1"/>
          </p:cNvSpPr>
          <p:nvPr>
            <p:ph sz="half" idx="13"/>
          </p:nvPr>
        </p:nvSpPr>
        <p:spPr>
          <a:xfrm>
            <a:off x="4645813" y="1852213"/>
            <a:ext cx="3452499" cy="4027816"/>
          </a:xfrm>
        </p:spPr>
        <p:txBody>
          <a:bodyPr/>
          <a:lstStyle>
            <a:lvl1pPr>
              <a:defRPr sz="2053"/>
            </a:lvl1pPr>
            <a:lvl2pPr>
              <a:defRPr sz="2053"/>
            </a:lvl2pPr>
            <a:lvl3pPr>
              <a:defRPr sz="2053"/>
            </a:lvl3pPr>
            <a:lvl4pPr>
              <a:defRPr sz="2053"/>
            </a:lvl4pPr>
            <a:lvl5pPr>
              <a:defRPr sz="2053"/>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Fußzeilenplatzhalter 4">
            <a:extLst>
              <a:ext uri="{FF2B5EF4-FFF2-40B4-BE49-F238E27FC236}">
                <a16:creationId xmlns:a16="http://schemas.microsoft.com/office/drawing/2014/main" id="{E4CF8913-CE39-6741-883D-C60EBE99599A}"/>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30926393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Tabelle">
    <p:spTree>
      <p:nvGrpSpPr>
        <p:cNvPr id="1" name=""/>
        <p:cNvGrpSpPr/>
        <p:nvPr/>
      </p:nvGrpSpPr>
      <p:grpSpPr>
        <a:xfrm>
          <a:off x="0" y="0"/>
          <a:ext cx="0" cy="0"/>
          <a:chOff x="0" y="0"/>
          <a:chExt cx="0" cy="0"/>
        </a:xfrm>
      </p:grpSpPr>
      <p:sp>
        <p:nvSpPr>
          <p:cNvPr id="8" name="Titel 7"/>
          <p:cNvSpPr>
            <a:spLocks noGrp="1"/>
          </p:cNvSpPr>
          <p:nvPr>
            <p:ph type="title"/>
          </p:nvPr>
        </p:nvSpPr>
        <p:spPr>
          <a:xfrm>
            <a:off x="964861" y="365798"/>
            <a:ext cx="10852418" cy="1324939"/>
          </a:xfrm>
        </p:spPr>
        <p:txBody>
          <a:bodyPr/>
          <a:lstStyle/>
          <a:p>
            <a:r>
              <a:rPr lang="de-DE"/>
              <a:t>Mastertitelformat bearbeiten</a:t>
            </a:r>
            <a:endParaRPr lang="de-DE" dirty="0"/>
          </a:p>
        </p:txBody>
      </p:sp>
      <p:sp>
        <p:nvSpPr>
          <p:cNvPr id="3" name="Untertitel 2"/>
          <p:cNvSpPr>
            <a:spLocks noGrp="1"/>
          </p:cNvSpPr>
          <p:nvPr>
            <p:ph type="subTitle" idx="1"/>
          </p:nvPr>
        </p:nvSpPr>
        <p:spPr>
          <a:xfrm>
            <a:off x="964861" y="1834177"/>
            <a:ext cx="10852418" cy="467761"/>
          </a:xfrm>
        </p:spPr>
        <p:txBody>
          <a:bodyPr/>
          <a:lstStyle>
            <a:lvl1pPr marL="0" indent="0" algn="l">
              <a:buNone/>
              <a:defRPr sz="2281" b="1"/>
            </a:lvl1pPr>
            <a:lvl2pPr marL="521368" indent="0" algn="ctr">
              <a:buNone/>
              <a:defRPr sz="2281"/>
            </a:lvl2pPr>
            <a:lvl3pPr marL="1042737" indent="0" algn="ctr">
              <a:buNone/>
              <a:defRPr sz="2053"/>
            </a:lvl3pPr>
            <a:lvl4pPr marL="1564104" indent="0" algn="ctr">
              <a:buNone/>
              <a:defRPr sz="1824"/>
            </a:lvl4pPr>
            <a:lvl5pPr marL="2085473" indent="0" algn="ctr">
              <a:buNone/>
              <a:defRPr sz="1824"/>
            </a:lvl5pPr>
            <a:lvl6pPr marL="2606841" indent="0" algn="ctr">
              <a:buNone/>
              <a:defRPr sz="1824"/>
            </a:lvl6pPr>
            <a:lvl7pPr marL="3128209" indent="0" algn="ctr">
              <a:buNone/>
              <a:defRPr sz="1824"/>
            </a:lvl7pPr>
            <a:lvl8pPr marL="3649578" indent="0" algn="ctr">
              <a:buNone/>
              <a:defRPr sz="1824"/>
            </a:lvl8pPr>
            <a:lvl9pPr marL="4170945" indent="0" algn="ctr">
              <a:buNone/>
              <a:defRPr sz="1824"/>
            </a:lvl9pPr>
          </a:lstStyle>
          <a:p>
            <a:r>
              <a:rPr lang="de-DE"/>
              <a:t>Master-Untertitelformat bearbeiten</a:t>
            </a:r>
            <a:endParaRPr lang="de-DE" dirty="0"/>
          </a:p>
        </p:txBody>
      </p:sp>
      <p:sp>
        <p:nvSpPr>
          <p:cNvPr id="12" name="Tabellenplatzhalter 11"/>
          <p:cNvSpPr>
            <a:spLocks noGrp="1"/>
          </p:cNvSpPr>
          <p:nvPr>
            <p:ph type="tbl" sz="quarter" idx="12"/>
          </p:nvPr>
        </p:nvSpPr>
        <p:spPr>
          <a:xfrm>
            <a:off x="964861" y="2396411"/>
            <a:ext cx="10852418" cy="3721351"/>
          </a:xfrm>
        </p:spPr>
        <p:txBody>
          <a:bodyPr/>
          <a:lstStyle/>
          <a:p>
            <a:r>
              <a:rPr lang="de-DE"/>
              <a:t>Tabelle durch Klicken auf Symbol hinzufügen</a:t>
            </a:r>
          </a:p>
        </p:txBody>
      </p:sp>
      <p:sp>
        <p:nvSpPr>
          <p:cNvPr id="6" name="Fußzeilenplatzhalter 4">
            <a:extLst>
              <a:ext uri="{FF2B5EF4-FFF2-40B4-BE49-F238E27FC236}">
                <a16:creationId xmlns:a16="http://schemas.microsoft.com/office/drawing/2014/main" id="{AD63A0EB-25EA-8B4C-A25D-B8AA43257D2C}"/>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18320703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Text und Bild/Tabelle/Grafik">
    <p:spTree>
      <p:nvGrpSpPr>
        <p:cNvPr id="1" name=""/>
        <p:cNvGrpSpPr/>
        <p:nvPr/>
      </p:nvGrpSpPr>
      <p:grpSpPr>
        <a:xfrm>
          <a:off x="0" y="0"/>
          <a:ext cx="0" cy="0"/>
          <a:chOff x="0" y="0"/>
          <a:chExt cx="0" cy="0"/>
        </a:xfrm>
      </p:grpSpPr>
      <p:sp>
        <p:nvSpPr>
          <p:cNvPr id="3" name="Inhaltsplatzhalter 2"/>
          <p:cNvSpPr>
            <a:spLocks noGrp="1"/>
          </p:cNvSpPr>
          <p:nvPr>
            <p:ph idx="1"/>
          </p:nvPr>
        </p:nvSpPr>
        <p:spPr>
          <a:xfrm>
            <a:off x="5226180" y="1852614"/>
            <a:ext cx="6591101" cy="4080525"/>
          </a:xfrm>
        </p:spPr>
        <p:txBody>
          <a:bodyPr>
            <a:normAutofit/>
          </a:bodyPr>
          <a:lstStyle>
            <a:lvl1pPr>
              <a:defRPr sz="2053"/>
            </a:lvl1pPr>
            <a:lvl2pPr>
              <a:defRPr sz="2053"/>
            </a:lvl2pPr>
            <a:lvl3pPr>
              <a:defRPr sz="2053"/>
            </a:lvl3pPr>
            <a:lvl4pPr>
              <a:defRPr sz="2053"/>
            </a:lvl4pPr>
            <a:lvl5pPr>
              <a:defRPr sz="2053"/>
            </a:lvl5pPr>
            <a:lvl6pPr>
              <a:defRPr sz="2281"/>
            </a:lvl6pPr>
            <a:lvl7pPr>
              <a:defRPr sz="2281"/>
            </a:lvl7pPr>
            <a:lvl8pPr>
              <a:defRPr sz="2281"/>
            </a:lvl8pPr>
            <a:lvl9pPr>
              <a:defRPr sz="2281"/>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p:cNvSpPr>
            <a:spLocks noGrp="1"/>
          </p:cNvSpPr>
          <p:nvPr>
            <p:ph type="body" sz="half" idx="2"/>
          </p:nvPr>
        </p:nvSpPr>
        <p:spPr>
          <a:xfrm>
            <a:off x="964863" y="1834180"/>
            <a:ext cx="3806944" cy="4080525"/>
          </a:xfrm>
        </p:spPr>
        <p:txBody>
          <a:bodyPr>
            <a:normAutofit/>
          </a:bodyPr>
          <a:lstStyle>
            <a:lvl1pPr marL="0" indent="0">
              <a:buNone/>
              <a:defRPr sz="2281"/>
            </a:lvl1pPr>
            <a:lvl2pPr marL="521368" indent="0">
              <a:buNone/>
              <a:defRPr sz="1597"/>
            </a:lvl2pPr>
            <a:lvl3pPr marL="1042737" indent="0">
              <a:buNone/>
              <a:defRPr sz="1368"/>
            </a:lvl3pPr>
            <a:lvl4pPr marL="1564104" indent="0">
              <a:buNone/>
              <a:defRPr sz="1140"/>
            </a:lvl4pPr>
            <a:lvl5pPr marL="2085473" indent="0">
              <a:buNone/>
              <a:defRPr sz="1140"/>
            </a:lvl5pPr>
            <a:lvl6pPr marL="2606841" indent="0">
              <a:buNone/>
              <a:defRPr sz="1140"/>
            </a:lvl6pPr>
            <a:lvl7pPr marL="3128209" indent="0">
              <a:buNone/>
              <a:defRPr sz="1140"/>
            </a:lvl7pPr>
            <a:lvl8pPr marL="3649578" indent="0">
              <a:buNone/>
              <a:defRPr sz="1140"/>
            </a:lvl8pPr>
            <a:lvl9pPr marL="4170945" indent="0">
              <a:buNone/>
              <a:defRPr sz="1140"/>
            </a:lvl9pPr>
          </a:lstStyle>
          <a:p>
            <a:pPr lvl="0"/>
            <a:r>
              <a:rPr lang="de-DE"/>
              <a:t>Mastertextformat bearbeiten</a:t>
            </a:r>
          </a:p>
        </p:txBody>
      </p:sp>
      <p:sp>
        <p:nvSpPr>
          <p:cNvPr id="2" name="Titel 1"/>
          <p:cNvSpPr>
            <a:spLocks noGrp="1"/>
          </p:cNvSpPr>
          <p:nvPr>
            <p:ph type="title"/>
          </p:nvPr>
        </p:nvSpPr>
        <p:spPr>
          <a:xfrm>
            <a:off x="964861" y="365798"/>
            <a:ext cx="10852418" cy="1324939"/>
          </a:xfrm>
        </p:spPr>
        <p:txBody>
          <a:bodyPr/>
          <a:lstStyle/>
          <a:p>
            <a:r>
              <a:rPr lang="de-DE"/>
              <a:t>Mastertitelformat bearbeiten</a:t>
            </a:r>
          </a:p>
        </p:txBody>
      </p:sp>
      <p:sp>
        <p:nvSpPr>
          <p:cNvPr id="6" name="Fußzeilenplatzhalter 4">
            <a:extLst>
              <a:ext uri="{FF2B5EF4-FFF2-40B4-BE49-F238E27FC236}">
                <a16:creationId xmlns:a16="http://schemas.microsoft.com/office/drawing/2014/main" id="{2F84BB2E-D818-1146-A6EC-3B1E96C6B51F}"/>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35816568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Bild und Beschriftung">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5143992" y="1843998"/>
            <a:ext cx="6673287" cy="3997572"/>
          </a:xfrm>
        </p:spPr>
        <p:txBody>
          <a:bodyPr/>
          <a:lstStyle>
            <a:lvl1pPr marL="0" indent="0">
              <a:buNone/>
              <a:defRPr sz="3649"/>
            </a:lvl1pPr>
            <a:lvl2pPr marL="521368" indent="0">
              <a:buNone/>
              <a:defRPr sz="3193"/>
            </a:lvl2pPr>
            <a:lvl3pPr marL="1042737" indent="0">
              <a:buNone/>
              <a:defRPr sz="2737"/>
            </a:lvl3pPr>
            <a:lvl4pPr marL="1564104" indent="0">
              <a:buNone/>
              <a:defRPr sz="2281"/>
            </a:lvl4pPr>
            <a:lvl5pPr marL="2085473" indent="0">
              <a:buNone/>
              <a:defRPr sz="2281"/>
            </a:lvl5pPr>
            <a:lvl6pPr marL="2606841" indent="0">
              <a:buNone/>
              <a:defRPr sz="2281"/>
            </a:lvl6pPr>
            <a:lvl7pPr marL="3128209" indent="0">
              <a:buNone/>
              <a:defRPr sz="2281"/>
            </a:lvl7pPr>
            <a:lvl8pPr marL="3649578" indent="0">
              <a:buNone/>
              <a:defRPr sz="2281"/>
            </a:lvl8pPr>
            <a:lvl9pPr marL="4170945" indent="0">
              <a:buNone/>
              <a:defRPr sz="2281"/>
            </a:lvl9pPr>
          </a:lstStyle>
          <a:p>
            <a:r>
              <a:rPr lang="de-DE"/>
              <a:t>Bild durch Klicken auf Symbol hinzufügen</a:t>
            </a:r>
            <a:endParaRPr lang="de-DE" dirty="0"/>
          </a:p>
        </p:txBody>
      </p:sp>
      <p:sp>
        <p:nvSpPr>
          <p:cNvPr id="4" name="Textplatzhalter 3"/>
          <p:cNvSpPr>
            <a:spLocks noGrp="1"/>
          </p:cNvSpPr>
          <p:nvPr>
            <p:ph type="body" sz="half" idx="2"/>
          </p:nvPr>
        </p:nvSpPr>
        <p:spPr>
          <a:xfrm>
            <a:off x="964862" y="1843998"/>
            <a:ext cx="3901077" cy="3997572"/>
          </a:xfrm>
        </p:spPr>
        <p:txBody>
          <a:bodyPr/>
          <a:lstStyle>
            <a:lvl1pPr marL="0" indent="0">
              <a:buNone/>
              <a:defRPr sz="2281"/>
            </a:lvl1pPr>
            <a:lvl2pPr marL="521368" indent="0">
              <a:buNone/>
              <a:defRPr sz="1597"/>
            </a:lvl2pPr>
            <a:lvl3pPr marL="1042737" indent="0">
              <a:buNone/>
              <a:defRPr sz="1368"/>
            </a:lvl3pPr>
            <a:lvl4pPr marL="1564104" indent="0">
              <a:buNone/>
              <a:defRPr sz="1140"/>
            </a:lvl4pPr>
            <a:lvl5pPr marL="2085473" indent="0">
              <a:buNone/>
              <a:defRPr sz="1140"/>
            </a:lvl5pPr>
            <a:lvl6pPr marL="2606841" indent="0">
              <a:buNone/>
              <a:defRPr sz="1140"/>
            </a:lvl6pPr>
            <a:lvl7pPr marL="3128209" indent="0">
              <a:buNone/>
              <a:defRPr sz="1140"/>
            </a:lvl7pPr>
            <a:lvl8pPr marL="3649578" indent="0">
              <a:buNone/>
              <a:defRPr sz="1140"/>
            </a:lvl8pPr>
            <a:lvl9pPr marL="4170945" indent="0">
              <a:buNone/>
              <a:defRPr sz="1140"/>
            </a:lvl9pPr>
          </a:lstStyle>
          <a:p>
            <a:pPr lvl="0"/>
            <a:r>
              <a:rPr lang="de-DE"/>
              <a:t>Mastertextformat bearbeiten</a:t>
            </a:r>
          </a:p>
        </p:txBody>
      </p:sp>
      <p:sp>
        <p:nvSpPr>
          <p:cNvPr id="2" name="Titel 1"/>
          <p:cNvSpPr>
            <a:spLocks noGrp="1"/>
          </p:cNvSpPr>
          <p:nvPr>
            <p:ph type="title"/>
          </p:nvPr>
        </p:nvSpPr>
        <p:spPr>
          <a:xfrm>
            <a:off x="964861" y="365798"/>
            <a:ext cx="10852418" cy="1324939"/>
          </a:xfrm>
        </p:spPr>
        <p:txBody>
          <a:bodyPr/>
          <a:lstStyle/>
          <a:p>
            <a:r>
              <a:rPr lang="de-DE"/>
              <a:t>Mastertitelformat bearbeiten</a:t>
            </a:r>
            <a:endParaRPr lang="de-DE" dirty="0"/>
          </a:p>
        </p:txBody>
      </p:sp>
      <p:sp>
        <p:nvSpPr>
          <p:cNvPr id="6" name="Fußzeilenplatzhalter 4">
            <a:extLst>
              <a:ext uri="{FF2B5EF4-FFF2-40B4-BE49-F238E27FC236}">
                <a16:creationId xmlns:a16="http://schemas.microsoft.com/office/drawing/2014/main" id="{DF08D41F-5D8A-104C-91BB-0993F362858A}"/>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5790911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lie 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2345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Folie 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47589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el und Diagramm/Bild/Tabelle">
    <p:spTree>
      <p:nvGrpSpPr>
        <p:cNvPr id="1" name=""/>
        <p:cNvGrpSpPr/>
        <p:nvPr/>
      </p:nvGrpSpPr>
      <p:grpSpPr>
        <a:xfrm>
          <a:off x="0" y="0"/>
          <a:ext cx="0" cy="0"/>
          <a:chOff x="0" y="0"/>
          <a:chExt cx="0" cy="0"/>
        </a:xfrm>
      </p:grpSpPr>
      <p:sp>
        <p:nvSpPr>
          <p:cNvPr id="2" name="Titel 1"/>
          <p:cNvSpPr>
            <a:spLocks noGrp="1"/>
          </p:cNvSpPr>
          <p:nvPr>
            <p:ph type="title"/>
          </p:nvPr>
        </p:nvSpPr>
        <p:spPr>
          <a:xfrm>
            <a:off x="964863" y="365798"/>
            <a:ext cx="10873947" cy="1324939"/>
          </a:xfrm>
        </p:spPr>
        <p:txBody>
          <a:bodyPr/>
          <a:lstStyle/>
          <a:p>
            <a:r>
              <a:rPr lang="de-DE"/>
              <a:t>Mastertitelformat bearbeiten</a:t>
            </a:r>
            <a:endParaRPr lang="de-DE" dirty="0"/>
          </a:p>
        </p:txBody>
      </p:sp>
      <p:sp>
        <p:nvSpPr>
          <p:cNvPr id="4" name="Inhaltsplatzhalter 3"/>
          <p:cNvSpPr>
            <a:spLocks noGrp="1"/>
          </p:cNvSpPr>
          <p:nvPr>
            <p:ph sz="quarter" idx="13"/>
          </p:nvPr>
        </p:nvSpPr>
        <p:spPr>
          <a:xfrm>
            <a:off x="964861" y="1843393"/>
            <a:ext cx="10873947" cy="402781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4">
            <a:extLst>
              <a:ext uri="{FF2B5EF4-FFF2-40B4-BE49-F238E27FC236}">
                <a16:creationId xmlns:a16="http://schemas.microsoft.com/office/drawing/2014/main" id="{0BBA6F09-20C5-ED41-9E65-3BEA7A6A5A47}"/>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5849511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4" name="Bildplatzhalter 3"/>
          <p:cNvSpPr>
            <a:spLocks noGrp="1"/>
          </p:cNvSpPr>
          <p:nvPr>
            <p:ph type="pic" sz="quarter" idx="10"/>
          </p:nvPr>
        </p:nvSpPr>
        <p:spPr>
          <a:xfrm>
            <a:off x="2" y="3"/>
            <a:ext cx="12192000" cy="6858000"/>
          </a:xfrm>
        </p:spPr>
        <p:txBody>
          <a:bodyPr/>
          <a:lstStyle/>
          <a:p>
            <a:r>
              <a:rPr lang="de-DE"/>
              <a:t>Bild durch Klicken auf Symbol hinzufügen</a:t>
            </a:r>
            <a:endParaRPr lang="de-DE" dirty="0"/>
          </a:p>
        </p:txBody>
      </p:sp>
      <p:sp>
        <p:nvSpPr>
          <p:cNvPr id="6" name="Rectangle avec un coin arrondi 5">
            <a:extLst>
              <a:ext uri="{FF2B5EF4-FFF2-40B4-BE49-F238E27FC236}">
                <a16:creationId xmlns:a16="http://schemas.microsoft.com/office/drawing/2014/main" id="{438BE31E-4BCC-F94C-BF8F-1FA4FD7786E5}"/>
              </a:ext>
            </a:extLst>
          </p:cNvPr>
          <p:cNvSpPr/>
          <p:nvPr/>
        </p:nvSpPr>
        <p:spPr>
          <a:xfrm rot="10800000" flipH="1">
            <a:off x="1" y="761815"/>
            <a:ext cx="11653331" cy="2350286"/>
          </a:xfrm>
          <a:prstGeom prst="round1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263"/>
          </a:p>
        </p:txBody>
      </p:sp>
      <p:sp>
        <p:nvSpPr>
          <p:cNvPr id="3" name="Textplatzhalter 2"/>
          <p:cNvSpPr>
            <a:spLocks noGrp="1"/>
          </p:cNvSpPr>
          <p:nvPr>
            <p:ph type="body" sz="quarter" idx="11"/>
          </p:nvPr>
        </p:nvSpPr>
        <p:spPr>
          <a:xfrm>
            <a:off x="964863" y="1139160"/>
            <a:ext cx="10714838" cy="1795868"/>
          </a:xfrm>
        </p:spPr>
        <p:txBody>
          <a:bodyPr/>
          <a:lstStyle>
            <a:lvl1pPr marL="0" indent="0">
              <a:buNone/>
              <a:defRPr sz="6842" b="1" i="0">
                <a:latin typeface="Avenir Next Condensed" charset="0"/>
                <a:ea typeface="Avenir Next Condensed" charset="0"/>
                <a:cs typeface="Avenir Next Condensed" charset="0"/>
              </a:defRPr>
            </a:lvl1pPr>
            <a:lvl2pPr marL="521368" indent="0">
              <a:buNone/>
              <a:defRPr sz="6842" b="1" i="0">
                <a:latin typeface="Avenir Next Condensed" charset="0"/>
                <a:ea typeface="Avenir Next Condensed" charset="0"/>
                <a:cs typeface="Avenir Next Condensed" charset="0"/>
              </a:defRPr>
            </a:lvl2pPr>
            <a:lvl3pPr marL="1042737" indent="0">
              <a:buNone/>
              <a:defRPr sz="6842" b="1" i="0">
                <a:latin typeface="Avenir Next Condensed" charset="0"/>
                <a:ea typeface="Avenir Next Condensed" charset="0"/>
                <a:cs typeface="Avenir Next Condensed" charset="0"/>
              </a:defRPr>
            </a:lvl3pPr>
            <a:lvl4pPr marL="1564104" indent="0">
              <a:buNone/>
              <a:defRPr sz="6842" b="1" i="0">
                <a:latin typeface="Avenir Next Condensed" charset="0"/>
                <a:ea typeface="Avenir Next Condensed" charset="0"/>
                <a:cs typeface="Avenir Next Condensed" charset="0"/>
              </a:defRPr>
            </a:lvl4pPr>
            <a:lvl5pPr marL="2085473" indent="0">
              <a:buNone/>
              <a:defRPr sz="6842" b="1" i="0">
                <a:latin typeface="Avenir Next Condensed" charset="0"/>
                <a:ea typeface="Avenir Next Condensed" charset="0"/>
                <a:cs typeface="Avenir Next Condensed" charset="0"/>
              </a:defRPr>
            </a:lvl5pPr>
          </a:lstStyle>
          <a:p>
            <a:pPr lvl="0"/>
            <a:r>
              <a:rPr lang="de-DE"/>
              <a:t>Mastertextformat bearbeiten</a:t>
            </a:r>
          </a:p>
        </p:txBody>
      </p:sp>
    </p:spTree>
    <p:extLst>
      <p:ext uri="{BB962C8B-B14F-4D97-AF65-F5344CB8AC3E}">
        <p14:creationId xmlns:p14="http://schemas.microsoft.com/office/powerpoint/2010/main" val="872301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el, Untertitel Text 2-spalti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964862" y="1833976"/>
            <a:ext cx="5007138" cy="447023"/>
          </a:xfrm>
        </p:spPr>
        <p:txBody>
          <a:bodyPr anchor="t" anchorCtr="0"/>
          <a:lstStyle>
            <a:lvl1pPr marL="0" indent="0">
              <a:buNone/>
              <a:defRPr sz="2281" b="1"/>
            </a:lvl1pPr>
            <a:lvl2pPr marL="521368" indent="0">
              <a:buNone/>
              <a:defRPr sz="2281" b="1"/>
            </a:lvl2pPr>
            <a:lvl3pPr marL="1042737" indent="0">
              <a:buNone/>
              <a:defRPr sz="2053" b="1"/>
            </a:lvl3pPr>
            <a:lvl4pPr marL="1564104" indent="0">
              <a:buNone/>
              <a:defRPr sz="1824" b="1"/>
            </a:lvl4pPr>
            <a:lvl5pPr marL="2085473" indent="0">
              <a:buNone/>
              <a:defRPr sz="1824" b="1"/>
            </a:lvl5pPr>
            <a:lvl6pPr marL="2606841" indent="0">
              <a:buNone/>
              <a:defRPr sz="1824" b="1"/>
            </a:lvl6pPr>
            <a:lvl7pPr marL="3128209" indent="0">
              <a:buNone/>
              <a:defRPr sz="1824" b="1"/>
            </a:lvl7pPr>
            <a:lvl8pPr marL="3649578" indent="0">
              <a:buNone/>
              <a:defRPr sz="1824" b="1"/>
            </a:lvl8pPr>
            <a:lvl9pPr marL="4170945" indent="0">
              <a:buNone/>
              <a:defRPr sz="1824" b="1"/>
            </a:lvl9pPr>
          </a:lstStyle>
          <a:p>
            <a:pPr lvl="0"/>
            <a:r>
              <a:rPr lang="de-DE"/>
              <a:t>Mastertextformat bearbeiten</a:t>
            </a:r>
          </a:p>
        </p:txBody>
      </p:sp>
      <p:sp>
        <p:nvSpPr>
          <p:cNvPr id="4" name="Inhaltsplatzhalter 3"/>
          <p:cNvSpPr>
            <a:spLocks noGrp="1"/>
          </p:cNvSpPr>
          <p:nvPr>
            <p:ph sz="half" idx="2"/>
          </p:nvPr>
        </p:nvSpPr>
        <p:spPr>
          <a:xfrm>
            <a:off x="964862" y="2396590"/>
            <a:ext cx="5007138" cy="349265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Textplatzhalter 4"/>
          <p:cNvSpPr>
            <a:spLocks noGrp="1"/>
          </p:cNvSpPr>
          <p:nvPr>
            <p:ph type="body" sz="quarter" idx="3"/>
          </p:nvPr>
        </p:nvSpPr>
        <p:spPr>
          <a:xfrm>
            <a:off x="6172935" y="1833976"/>
            <a:ext cx="5665874" cy="447023"/>
          </a:xfrm>
        </p:spPr>
        <p:txBody>
          <a:bodyPr anchor="t" anchorCtr="0"/>
          <a:lstStyle>
            <a:lvl1pPr marL="0" indent="0">
              <a:buNone/>
              <a:defRPr sz="2281" b="1"/>
            </a:lvl1pPr>
            <a:lvl2pPr marL="521368" indent="0">
              <a:buNone/>
              <a:defRPr sz="2281" b="1"/>
            </a:lvl2pPr>
            <a:lvl3pPr marL="1042737" indent="0">
              <a:buNone/>
              <a:defRPr sz="2053" b="1"/>
            </a:lvl3pPr>
            <a:lvl4pPr marL="1564104" indent="0">
              <a:buNone/>
              <a:defRPr sz="1824" b="1"/>
            </a:lvl4pPr>
            <a:lvl5pPr marL="2085473" indent="0">
              <a:buNone/>
              <a:defRPr sz="1824" b="1"/>
            </a:lvl5pPr>
            <a:lvl6pPr marL="2606841" indent="0">
              <a:buNone/>
              <a:defRPr sz="1824" b="1"/>
            </a:lvl6pPr>
            <a:lvl7pPr marL="3128209" indent="0">
              <a:buNone/>
              <a:defRPr sz="1824" b="1"/>
            </a:lvl7pPr>
            <a:lvl8pPr marL="3649578" indent="0">
              <a:buNone/>
              <a:defRPr sz="1824" b="1"/>
            </a:lvl8pPr>
            <a:lvl9pPr marL="4170945" indent="0">
              <a:buNone/>
              <a:defRPr sz="1824" b="1"/>
            </a:lvl9pPr>
          </a:lstStyle>
          <a:p>
            <a:pPr lvl="0"/>
            <a:r>
              <a:rPr lang="de-DE"/>
              <a:t>Mastertextformat bearbeiten</a:t>
            </a:r>
          </a:p>
        </p:txBody>
      </p:sp>
      <p:sp>
        <p:nvSpPr>
          <p:cNvPr id="6" name="Inhaltsplatzhalter 5"/>
          <p:cNvSpPr>
            <a:spLocks noGrp="1"/>
          </p:cNvSpPr>
          <p:nvPr>
            <p:ph sz="quarter" idx="4"/>
          </p:nvPr>
        </p:nvSpPr>
        <p:spPr>
          <a:xfrm>
            <a:off x="6172935" y="2396590"/>
            <a:ext cx="5665874" cy="349265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itel 6"/>
          <p:cNvSpPr>
            <a:spLocks noGrp="1"/>
          </p:cNvSpPr>
          <p:nvPr>
            <p:ph type="title"/>
          </p:nvPr>
        </p:nvSpPr>
        <p:spPr>
          <a:xfrm>
            <a:off x="964863" y="365798"/>
            <a:ext cx="10840832" cy="1324939"/>
          </a:xfrm>
        </p:spPr>
        <p:txBody>
          <a:bodyPr>
            <a:noAutofit/>
          </a:bodyPr>
          <a:lstStyle/>
          <a:p>
            <a:r>
              <a:rPr lang="de-DE"/>
              <a:t>Mastertitelformat bearbeiten</a:t>
            </a:r>
            <a:endParaRPr lang="de-DE" dirty="0"/>
          </a:p>
        </p:txBody>
      </p:sp>
      <p:sp>
        <p:nvSpPr>
          <p:cNvPr id="8" name="Fußzeilenplatzhalter 4">
            <a:extLst>
              <a:ext uri="{FF2B5EF4-FFF2-40B4-BE49-F238E27FC236}">
                <a16:creationId xmlns:a16="http://schemas.microsoft.com/office/drawing/2014/main" id="{523FCFE3-5044-1348-A072-CD5AB3994BEB}"/>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25512156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el und Lauftext">
    <p:spTree>
      <p:nvGrpSpPr>
        <p:cNvPr id="1" name=""/>
        <p:cNvGrpSpPr/>
        <p:nvPr/>
      </p:nvGrpSpPr>
      <p:grpSpPr>
        <a:xfrm>
          <a:off x="0" y="0"/>
          <a:ext cx="0" cy="0"/>
          <a:chOff x="0" y="0"/>
          <a:chExt cx="0" cy="0"/>
        </a:xfrm>
      </p:grpSpPr>
      <p:sp>
        <p:nvSpPr>
          <p:cNvPr id="6" name="Fußzeilenplatzhalter 4"/>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
        <p:nvSpPr>
          <p:cNvPr id="2" name="Titel 1"/>
          <p:cNvSpPr>
            <a:spLocks noGrp="1"/>
          </p:cNvSpPr>
          <p:nvPr>
            <p:ph type="title"/>
          </p:nvPr>
        </p:nvSpPr>
        <p:spPr>
          <a:xfrm>
            <a:off x="964863" y="365798"/>
            <a:ext cx="10873947" cy="1324939"/>
          </a:xfrm>
        </p:spPr>
        <p:txBody>
          <a:bodyPr/>
          <a:lstStyle>
            <a:lvl1pPr>
              <a:defRPr b="1" i="0">
                <a:latin typeface="Avenir Next Condensed" charset="0"/>
                <a:ea typeface="Avenir Next Condensed" charset="0"/>
                <a:cs typeface="Avenir Next Condensed" charset="0"/>
              </a:defRPr>
            </a:lvl1pPr>
          </a:lstStyle>
          <a:p>
            <a:r>
              <a:rPr lang="de-DE"/>
              <a:t>Mastertitelformat bearbeiten</a:t>
            </a:r>
            <a:endParaRPr lang="de-DE" dirty="0"/>
          </a:p>
        </p:txBody>
      </p:sp>
      <p:sp>
        <p:nvSpPr>
          <p:cNvPr id="4" name="Textplatzhalter 3"/>
          <p:cNvSpPr>
            <a:spLocks noGrp="1"/>
          </p:cNvSpPr>
          <p:nvPr>
            <p:ph type="body" sz="quarter" idx="12"/>
          </p:nvPr>
        </p:nvSpPr>
        <p:spPr>
          <a:xfrm>
            <a:off x="964861" y="1833978"/>
            <a:ext cx="10873947" cy="4065259"/>
          </a:xfrm>
        </p:spPr>
        <p:txBody>
          <a:bodyPr/>
          <a:lstStyle>
            <a:lvl1pPr marL="0" indent="0">
              <a:buNone/>
              <a:defRPr b="0" i="0">
                <a:latin typeface="Avenir Next Condensed" charset="0"/>
                <a:ea typeface="Avenir Next Condensed" charset="0"/>
                <a:cs typeface="Avenir Next Condensed" charset="0"/>
              </a:defRPr>
            </a:lvl1pPr>
            <a:lvl2pPr marL="521368" indent="0">
              <a:buNone/>
              <a:defRPr/>
            </a:lvl2pPr>
            <a:lvl3pPr marL="1042737" indent="0">
              <a:buNone/>
              <a:defRPr/>
            </a:lvl3pPr>
            <a:lvl4pPr marL="1564104" indent="0">
              <a:buNone/>
              <a:defRPr/>
            </a:lvl4pPr>
            <a:lvl5pPr marL="2085473" indent="0">
              <a:buNone/>
              <a:defRPr/>
            </a:lvl5pPr>
          </a:lstStyle>
          <a:p>
            <a:pPr lvl="0"/>
            <a:r>
              <a:rPr lang="de-DE"/>
              <a:t>Mastertextformat bearbeiten</a:t>
            </a:r>
          </a:p>
        </p:txBody>
      </p:sp>
    </p:spTree>
    <p:extLst>
      <p:ext uri="{BB962C8B-B14F-4D97-AF65-F5344CB8AC3E}">
        <p14:creationId xmlns:p14="http://schemas.microsoft.com/office/powerpoint/2010/main" val="37228296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3791B6CB-EA61-463B-9BE6-C973201B093E}" type="datetimeFigureOut">
              <a:rPr lang="nl-NL" smtClean="0"/>
              <a:t>30-6-2021</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0954838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el, Untertitel und Text">
    <p:spTree>
      <p:nvGrpSpPr>
        <p:cNvPr id="1" name=""/>
        <p:cNvGrpSpPr/>
        <p:nvPr/>
      </p:nvGrpSpPr>
      <p:grpSpPr>
        <a:xfrm>
          <a:off x="0" y="0"/>
          <a:ext cx="0" cy="0"/>
          <a:chOff x="0" y="0"/>
          <a:chExt cx="0" cy="0"/>
        </a:xfrm>
      </p:grpSpPr>
      <p:sp>
        <p:nvSpPr>
          <p:cNvPr id="3" name="Inhaltsplatzhalter 2"/>
          <p:cNvSpPr>
            <a:spLocks noGrp="1"/>
          </p:cNvSpPr>
          <p:nvPr>
            <p:ph idx="1"/>
          </p:nvPr>
        </p:nvSpPr>
        <p:spPr>
          <a:xfrm>
            <a:off x="964861" y="2391977"/>
            <a:ext cx="10873947" cy="3515698"/>
          </a:xfrm>
        </p:spPr>
        <p:txBody>
          <a:bodyPr/>
          <a:lstStyle>
            <a:lvl1pPr>
              <a:defRPr b="0" i="0">
                <a:latin typeface="Avenir Next Condensed" charset="0"/>
                <a:ea typeface="Avenir Next Condensed" charset="0"/>
                <a:cs typeface="Avenir Next Condensed" charset="0"/>
              </a:defRPr>
            </a:lvl1pPr>
            <a:lvl2pPr>
              <a:defRPr sz="1824" b="0" i="0">
                <a:latin typeface="Avenir Next Condensed" charset="0"/>
                <a:ea typeface="Avenir Next Condensed" charset="0"/>
                <a:cs typeface="Avenir Next Condensed" charset="0"/>
              </a:defRPr>
            </a:lvl2pPr>
            <a:lvl3pPr>
              <a:defRPr sz="1824" b="0" i="0">
                <a:latin typeface="Avenir Next Condensed" charset="0"/>
                <a:ea typeface="Avenir Next Condensed" charset="0"/>
                <a:cs typeface="Avenir Next Condensed" charset="0"/>
              </a:defRPr>
            </a:lvl3pPr>
            <a:lvl4pPr>
              <a:defRPr sz="1824" b="0" i="0">
                <a:latin typeface="Avenir Next Condensed" charset="0"/>
                <a:ea typeface="Avenir Next Condensed" charset="0"/>
                <a:cs typeface="Avenir Next Condensed" charset="0"/>
              </a:defRPr>
            </a:lvl4pPr>
            <a:lvl5pPr>
              <a:defRPr sz="1824" b="0" i="0">
                <a:latin typeface="Avenir Next Condensed" charset="0"/>
                <a:ea typeface="Avenir Next Condensed" charset="0"/>
                <a:cs typeface="Avenir Next Condensed" charset="0"/>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itel 3"/>
          <p:cNvSpPr>
            <a:spLocks noGrp="1"/>
          </p:cNvSpPr>
          <p:nvPr>
            <p:ph type="title"/>
          </p:nvPr>
        </p:nvSpPr>
        <p:spPr>
          <a:xfrm>
            <a:off x="964863" y="365798"/>
            <a:ext cx="10873947" cy="1324939"/>
          </a:xfrm>
        </p:spPr>
        <p:txBody>
          <a:bodyPr/>
          <a:lstStyle>
            <a:lvl1pPr>
              <a:defRPr b="1" i="0">
                <a:latin typeface="Avenir Next Condensed" charset="0"/>
                <a:ea typeface="Avenir Next Condensed" charset="0"/>
                <a:cs typeface="Avenir Next Condensed" charset="0"/>
              </a:defRPr>
            </a:lvl1pPr>
          </a:lstStyle>
          <a:p>
            <a:r>
              <a:rPr lang="de-DE"/>
              <a:t>Mastertitelformat bearbeiten</a:t>
            </a:r>
            <a:endParaRPr lang="de-DE" dirty="0"/>
          </a:p>
        </p:txBody>
      </p:sp>
      <p:sp>
        <p:nvSpPr>
          <p:cNvPr id="5" name="Textplatzhalter 4"/>
          <p:cNvSpPr>
            <a:spLocks noGrp="1"/>
          </p:cNvSpPr>
          <p:nvPr>
            <p:ph type="body" sz="quarter" idx="12"/>
          </p:nvPr>
        </p:nvSpPr>
        <p:spPr>
          <a:xfrm>
            <a:off x="964863" y="1833979"/>
            <a:ext cx="10873947" cy="488498"/>
          </a:xfrm>
        </p:spPr>
        <p:txBody>
          <a:bodyPr/>
          <a:lstStyle>
            <a:lvl1pPr>
              <a:defRPr b="1" i="0">
                <a:latin typeface="Avenir Next Condensed" charset="0"/>
                <a:ea typeface="Avenir Next Condensed" charset="0"/>
                <a:cs typeface="Avenir Next Condensed" charset="0"/>
              </a:defRPr>
            </a:lvl1pPr>
            <a:lvl5pPr marL="2346157" marR="0" indent="-260684" algn="l" defTabSz="1042737" rtl="0" eaLnBrk="1" fontAlgn="auto" latinLnBrk="0" hangingPunct="1">
              <a:lnSpc>
                <a:spcPct val="90000"/>
              </a:lnSpc>
              <a:spcBef>
                <a:spcPts val="571"/>
              </a:spcBef>
              <a:spcAft>
                <a:spcPts val="0"/>
              </a:spcAft>
              <a:buClrTx/>
              <a:buSzTx/>
              <a:buFont typeface="Menlo-Regular" charset="0"/>
              <a:buNone/>
              <a:tabLst/>
              <a:defRPr/>
            </a:lvl5pPr>
          </a:lstStyle>
          <a:p>
            <a:pPr marL="260684" marR="0" lvl="0" indent="-260684" algn="l" defTabSz="1042737" rtl="0" eaLnBrk="1" fontAlgn="auto" latinLnBrk="0" hangingPunct="1">
              <a:lnSpc>
                <a:spcPct val="90000"/>
              </a:lnSpc>
              <a:spcBef>
                <a:spcPts val="571"/>
              </a:spcBef>
              <a:spcAft>
                <a:spcPts val="0"/>
              </a:spcAft>
              <a:buClrTx/>
              <a:buSzTx/>
              <a:buFont typeface="Menlo-Regular" charset="0"/>
              <a:buNone/>
              <a:tabLst/>
              <a:defRPr/>
            </a:pPr>
            <a:r>
              <a:rPr lang="de-DE"/>
              <a:t>Mastertextformat bearbeiten</a:t>
            </a:r>
          </a:p>
          <a:p>
            <a:pPr marL="260684" marR="0" lvl="1" indent="-260684" algn="l" defTabSz="1042737" rtl="0" eaLnBrk="1" fontAlgn="auto" latinLnBrk="0" hangingPunct="1">
              <a:lnSpc>
                <a:spcPct val="90000"/>
              </a:lnSpc>
              <a:spcBef>
                <a:spcPts val="571"/>
              </a:spcBef>
              <a:spcAft>
                <a:spcPts val="0"/>
              </a:spcAft>
              <a:buClrTx/>
              <a:buSzTx/>
              <a:buFont typeface="Menlo-Regular" charset="0"/>
              <a:buNone/>
              <a:tabLst/>
              <a:defRPr/>
            </a:pPr>
            <a:r>
              <a:rPr lang="de-DE"/>
              <a:t>Zweite Ebene</a:t>
            </a:r>
          </a:p>
        </p:txBody>
      </p:sp>
      <p:sp>
        <p:nvSpPr>
          <p:cNvPr id="6" name="Fußzeilenplatzhalter 4">
            <a:extLst>
              <a:ext uri="{FF2B5EF4-FFF2-40B4-BE49-F238E27FC236}">
                <a16:creationId xmlns:a16="http://schemas.microsoft.com/office/drawing/2014/main" id="{9AD4F4A2-4DCA-3245-884D-A28E525217D9}"/>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2362582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3_Titel, Text 3-spaltig">
    <p:spTree>
      <p:nvGrpSpPr>
        <p:cNvPr id="1" name=""/>
        <p:cNvGrpSpPr/>
        <p:nvPr/>
      </p:nvGrpSpPr>
      <p:grpSpPr>
        <a:xfrm>
          <a:off x="0" y="0"/>
          <a:ext cx="0" cy="0"/>
          <a:chOff x="0" y="0"/>
          <a:chExt cx="0" cy="0"/>
        </a:xfrm>
      </p:grpSpPr>
      <p:sp>
        <p:nvSpPr>
          <p:cNvPr id="4" name="Inhaltsplatzhalter 3"/>
          <p:cNvSpPr>
            <a:spLocks noGrp="1"/>
          </p:cNvSpPr>
          <p:nvPr>
            <p:ph sz="half" idx="2"/>
          </p:nvPr>
        </p:nvSpPr>
        <p:spPr>
          <a:xfrm>
            <a:off x="964861" y="1852210"/>
            <a:ext cx="3426069" cy="4027815"/>
          </a:xfrm>
        </p:spPr>
        <p:txBody>
          <a:bodyPr/>
          <a:lstStyle>
            <a:lvl1pPr>
              <a:defRPr sz="2053"/>
            </a:lvl1pPr>
            <a:lvl2pPr>
              <a:defRPr sz="2053"/>
            </a:lvl2pPr>
            <a:lvl3pPr>
              <a:defRPr sz="2053"/>
            </a:lvl3pPr>
            <a:lvl4pPr>
              <a:defRPr sz="2053"/>
            </a:lvl4pPr>
            <a:lvl5pPr>
              <a:defRPr sz="2053"/>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Inhaltsplatzhalter 5"/>
          <p:cNvSpPr>
            <a:spLocks noGrp="1"/>
          </p:cNvSpPr>
          <p:nvPr>
            <p:ph sz="quarter" idx="4"/>
          </p:nvPr>
        </p:nvSpPr>
        <p:spPr>
          <a:xfrm>
            <a:off x="8353194" y="1852213"/>
            <a:ext cx="3452499" cy="4027816"/>
          </a:xfrm>
        </p:spPr>
        <p:txBody>
          <a:bodyPr/>
          <a:lstStyle>
            <a:lvl1pPr>
              <a:defRPr sz="2053"/>
            </a:lvl1pPr>
            <a:lvl2pPr>
              <a:defRPr sz="2053"/>
            </a:lvl2pPr>
            <a:lvl3pPr>
              <a:defRPr sz="2053"/>
            </a:lvl3pPr>
            <a:lvl4pPr>
              <a:defRPr sz="2053"/>
            </a:lvl4pPr>
            <a:lvl5pPr>
              <a:defRPr sz="2053"/>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Titel 6"/>
          <p:cNvSpPr>
            <a:spLocks noGrp="1"/>
          </p:cNvSpPr>
          <p:nvPr>
            <p:ph type="title"/>
          </p:nvPr>
        </p:nvSpPr>
        <p:spPr>
          <a:xfrm>
            <a:off x="964863" y="365798"/>
            <a:ext cx="10840832" cy="1324939"/>
          </a:xfrm>
        </p:spPr>
        <p:txBody>
          <a:bodyPr>
            <a:noAutofit/>
          </a:bodyPr>
          <a:lstStyle/>
          <a:p>
            <a:r>
              <a:rPr lang="de-DE"/>
              <a:t>Mastertitelformat bearbeiten</a:t>
            </a:r>
            <a:endParaRPr lang="de-DE" dirty="0"/>
          </a:p>
        </p:txBody>
      </p:sp>
      <p:sp>
        <p:nvSpPr>
          <p:cNvPr id="9" name="Inhaltsplatzhalter 3"/>
          <p:cNvSpPr>
            <a:spLocks noGrp="1"/>
          </p:cNvSpPr>
          <p:nvPr>
            <p:ph sz="half" idx="13"/>
          </p:nvPr>
        </p:nvSpPr>
        <p:spPr>
          <a:xfrm>
            <a:off x="4645813" y="1852213"/>
            <a:ext cx="3452499" cy="4027816"/>
          </a:xfrm>
        </p:spPr>
        <p:txBody>
          <a:bodyPr/>
          <a:lstStyle>
            <a:lvl1pPr>
              <a:defRPr sz="2053"/>
            </a:lvl1pPr>
            <a:lvl2pPr>
              <a:defRPr sz="2053"/>
            </a:lvl2pPr>
            <a:lvl3pPr>
              <a:defRPr sz="2053"/>
            </a:lvl3pPr>
            <a:lvl4pPr>
              <a:defRPr sz="2053"/>
            </a:lvl4pPr>
            <a:lvl5pPr>
              <a:defRPr sz="2053"/>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Fußzeilenplatzhalter 4">
            <a:extLst>
              <a:ext uri="{FF2B5EF4-FFF2-40B4-BE49-F238E27FC236}">
                <a16:creationId xmlns:a16="http://schemas.microsoft.com/office/drawing/2014/main" id="{E4CF8913-CE39-6741-883D-C60EBE99599A}"/>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28391939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el und Tabelle">
    <p:spTree>
      <p:nvGrpSpPr>
        <p:cNvPr id="1" name=""/>
        <p:cNvGrpSpPr/>
        <p:nvPr/>
      </p:nvGrpSpPr>
      <p:grpSpPr>
        <a:xfrm>
          <a:off x="0" y="0"/>
          <a:ext cx="0" cy="0"/>
          <a:chOff x="0" y="0"/>
          <a:chExt cx="0" cy="0"/>
        </a:xfrm>
      </p:grpSpPr>
      <p:sp>
        <p:nvSpPr>
          <p:cNvPr id="8" name="Titel 7"/>
          <p:cNvSpPr>
            <a:spLocks noGrp="1"/>
          </p:cNvSpPr>
          <p:nvPr>
            <p:ph type="title"/>
          </p:nvPr>
        </p:nvSpPr>
        <p:spPr>
          <a:xfrm>
            <a:off x="964861" y="365798"/>
            <a:ext cx="10852418" cy="1324939"/>
          </a:xfrm>
        </p:spPr>
        <p:txBody>
          <a:bodyPr/>
          <a:lstStyle/>
          <a:p>
            <a:r>
              <a:rPr lang="de-DE"/>
              <a:t>Mastertitelformat bearbeiten</a:t>
            </a:r>
            <a:endParaRPr lang="de-DE" dirty="0"/>
          </a:p>
        </p:txBody>
      </p:sp>
      <p:sp>
        <p:nvSpPr>
          <p:cNvPr id="3" name="Untertitel 2"/>
          <p:cNvSpPr>
            <a:spLocks noGrp="1"/>
          </p:cNvSpPr>
          <p:nvPr>
            <p:ph type="subTitle" idx="1"/>
          </p:nvPr>
        </p:nvSpPr>
        <p:spPr>
          <a:xfrm>
            <a:off x="964861" y="1834177"/>
            <a:ext cx="10852418" cy="467761"/>
          </a:xfrm>
        </p:spPr>
        <p:txBody>
          <a:bodyPr/>
          <a:lstStyle>
            <a:lvl1pPr marL="0" indent="0" algn="l">
              <a:buNone/>
              <a:defRPr sz="2281" b="1"/>
            </a:lvl1pPr>
            <a:lvl2pPr marL="521368" indent="0" algn="ctr">
              <a:buNone/>
              <a:defRPr sz="2281"/>
            </a:lvl2pPr>
            <a:lvl3pPr marL="1042737" indent="0" algn="ctr">
              <a:buNone/>
              <a:defRPr sz="2053"/>
            </a:lvl3pPr>
            <a:lvl4pPr marL="1564104" indent="0" algn="ctr">
              <a:buNone/>
              <a:defRPr sz="1824"/>
            </a:lvl4pPr>
            <a:lvl5pPr marL="2085473" indent="0" algn="ctr">
              <a:buNone/>
              <a:defRPr sz="1824"/>
            </a:lvl5pPr>
            <a:lvl6pPr marL="2606841" indent="0" algn="ctr">
              <a:buNone/>
              <a:defRPr sz="1824"/>
            </a:lvl6pPr>
            <a:lvl7pPr marL="3128209" indent="0" algn="ctr">
              <a:buNone/>
              <a:defRPr sz="1824"/>
            </a:lvl7pPr>
            <a:lvl8pPr marL="3649578" indent="0" algn="ctr">
              <a:buNone/>
              <a:defRPr sz="1824"/>
            </a:lvl8pPr>
            <a:lvl9pPr marL="4170945" indent="0" algn="ctr">
              <a:buNone/>
              <a:defRPr sz="1824"/>
            </a:lvl9pPr>
          </a:lstStyle>
          <a:p>
            <a:r>
              <a:rPr lang="de-DE"/>
              <a:t>Master-Untertitelformat bearbeiten</a:t>
            </a:r>
            <a:endParaRPr lang="de-DE" dirty="0"/>
          </a:p>
        </p:txBody>
      </p:sp>
      <p:sp>
        <p:nvSpPr>
          <p:cNvPr id="12" name="Tabellenplatzhalter 11"/>
          <p:cNvSpPr>
            <a:spLocks noGrp="1"/>
          </p:cNvSpPr>
          <p:nvPr>
            <p:ph type="tbl" sz="quarter" idx="12"/>
          </p:nvPr>
        </p:nvSpPr>
        <p:spPr>
          <a:xfrm>
            <a:off x="964861" y="2396411"/>
            <a:ext cx="10852418" cy="3721351"/>
          </a:xfrm>
        </p:spPr>
        <p:txBody>
          <a:bodyPr/>
          <a:lstStyle/>
          <a:p>
            <a:r>
              <a:rPr lang="de-DE"/>
              <a:t>Tabelle durch Klicken auf Symbol hinzufügen</a:t>
            </a:r>
          </a:p>
        </p:txBody>
      </p:sp>
      <p:sp>
        <p:nvSpPr>
          <p:cNvPr id="6" name="Fußzeilenplatzhalter 4">
            <a:extLst>
              <a:ext uri="{FF2B5EF4-FFF2-40B4-BE49-F238E27FC236}">
                <a16:creationId xmlns:a16="http://schemas.microsoft.com/office/drawing/2014/main" id="{AD63A0EB-25EA-8B4C-A25D-B8AA43257D2C}"/>
              </a:ext>
            </a:extLst>
          </p:cNvPr>
          <p:cNvSpPr>
            <a:spLocks noGrp="1"/>
          </p:cNvSpPr>
          <p:nvPr>
            <p:ph type="ftr" sz="quarter" idx="11"/>
          </p:nvPr>
        </p:nvSpPr>
        <p:spPr>
          <a:xfrm>
            <a:off x="4038657" y="6408647"/>
            <a:ext cx="7800152" cy="330973"/>
          </a:xfrm>
          <a:prstGeom prst="rect">
            <a:avLst/>
          </a:prstGeom>
        </p:spPr>
        <p:txBody>
          <a:bodyPr/>
          <a:lstStyle>
            <a:lvl1pPr>
              <a:defRPr sz="1824">
                <a:latin typeface="Avenir Next Condensed" panose="020B0506020202020204" pitchFamily="34" charset="0"/>
                <a:ea typeface="Avenir Next Condensed" panose="020B0506020202020204" pitchFamily="34" charset="0"/>
                <a:cs typeface="Arial Narrow" charset="0"/>
              </a:defRPr>
            </a:lvl1pPr>
          </a:lstStyle>
          <a:p>
            <a:pPr algn="r"/>
            <a:r>
              <a:rPr lang="en-US"/>
              <a:t>Unit · Event · Place · Date</a:t>
            </a:r>
            <a:endParaRPr lang="en-US" dirty="0"/>
          </a:p>
        </p:txBody>
      </p:sp>
    </p:spTree>
    <p:extLst>
      <p:ext uri="{BB962C8B-B14F-4D97-AF65-F5344CB8AC3E}">
        <p14:creationId xmlns:p14="http://schemas.microsoft.com/office/powerpoint/2010/main" val="187936322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1E75471C-02C9-9145-8C0F-DCA7171A280A}"/>
              </a:ext>
            </a:extLst>
          </p:cNvPr>
          <p:cNvSpPr>
            <a:spLocks noGrp="1"/>
          </p:cNvSpPr>
          <p:nvPr>
            <p:ph type="dt" sz="half" idx="10"/>
          </p:nvPr>
        </p:nvSpPr>
        <p:spPr>
          <a:xfrm>
            <a:off x="291547" y="6356350"/>
            <a:ext cx="3361196" cy="365125"/>
          </a:xfrm>
        </p:spPr>
        <p:txBody>
          <a:bodyPr/>
          <a:lstStyle>
            <a:lvl1pPr>
              <a:defRPr cap="all" baseline="0">
                <a:latin typeface="Arial" panose="020B0604020202020204" pitchFamily="34" charset="0"/>
              </a:defRPr>
            </a:lvl1pPr>
          </a:lstStyle>
          <a:p>
            <a:endParaRPr lang="en-US" dirty="0"/>
          </a:p>
        </p:txBody>
      </p:sp>
      <p:sp>
        <p:nvSpPr>
          <p:cNvPr id="9" name="Footer Placeholder 8">
            <a:extLst>
              <a:ext uri="{FF2B5EF4-FFF2-40B4-BE49-F238E27FC236}">
                <a16:creationId xmlns:a16="http://schemas.microsoft.com/office/drawing/2014/main" id="{CB692917-398F-D34C-A817-2150667F5369}"/>
              </a:ext>
            </a:extLst>
          </p:cNvPr>
          <p:cNvSpPr>
            <a:spLocks noGrp="1"/>
          </p:cNvSpPr>
          <p:nvPr>
            <p:ph type="ftr" sz="quarter" idx="11"/>
          </p:nvPr>
        </p:nvSpPr>
        <p:spPr>
          <a:xfrm>
            <a:off x="3877961" y="6356350"/>
            <a:ext cx="7207551" cy="365125"/>
          </a:xfrm>
        </p:spPr>
        <p:txBody>
          <a:bodyPr/>
          <a:lstStyle>
            <a:lvl1pPr algn="l">
              <a:defRPr cap="all" baseline="0">
                <a:latin typeface="Arial" panose="020B0604020202020204" pitchFamily="34" charset="0"/>
              </a:defRPr>
            </a:lvl1pPr>
          </a:lstStyle>
          <a:p>
            <a:r>
              <a:rPr lang="en-US"/>
              <a:t>AESIS CONFERENCE 23-25 June 2020 | Cape Town | Barend van der Meulen</a:t>
            </a:r>
            <a:endParaRPr lang="en-US" dirty="0"/>
          </a:p>
        </p:txBody>
      </p:sp>
      <p:sp>
        <p:nvSpPr>
          <p:cNvPr id="10" name="Slide Number Placeholder 9">
            <a:extLst>
              <a:ext uri="{FF2B5EF4-FFF2-40B4-BE49-F238E27FC236}">
                <a16:creationId xmlns:a16="http://schemas.microsoft.com/office/drawing/2014/main" id="{DEBF3654-DD81-DB45-9602-B09B3CF80270}"/>
              </a:ext>
            </a:extLst>
          </p:cNvPr>
          <p:cNvSpPr>
            <a:spLocks noGrp="1"/>
          </p:cNvSpPr>
          <p:nvPr>
            <p:ph type="sldNum" sz="quarter" idx="12"/>
          </p:nvPr>
        </p:nvSpPr>
        <p:spPr>
          <a:xfrm>
            <a:off x="11310730" y="6356350"/>
            <a:ext cx="609600" cy="365125"/>
          </a:xfrm>
        </p:spPr>
        <p:txBody>
          <a:bodyPr/>
          <a:lstStyle>
            <a:lvl1pPr>
              <a:defRPr cap="all" baseline="0">
                <a:latin typeface="Arial" panose="020B0604020202020204" pitchFamily="34" charset="0"/>
              </a:defRPr>
            </a:lvl1pPr>
          </a:lstStyle>
          <a:p>
            <a:fld id="{59D79D20-9926-6947-91A9-E826DAB4C488}" type="slidenum">
              <a:rPr lang="en-US" smtClean="0"/>
              <a:pPr/>
              <a:t>‹nr.›</a:t>
            </a:fld>
            <a:endParaRPr lang="en-US" dirty="0"/>
          </a:p>
        </p:txBody>
      </p:sp>
      <p:sp>
        <p:nvSpPr>
          <p:cNvPr id="11" name="Title 10">
            <a:extLst>
              <a:ext uri="{FF2B5EF4-FFF2-40B4-BE49-F238E27FC236}">
                <a16:creationId xmlns:a16="http://schemas.microsoft.com/office/drawing/2014/main" id="{DA016B96-8B58-2D47-BB97-1861188CC4A9}"/>
              </a:ext>
            </a:extLst>
          </p:cNvPr>
          <p:cNvSpPr>
            <a:spLocks noGrp="1"/>
          </p:cNvSpPr>
          <p:nvPr>
            <p:ph type="title"/>
          </p:nvPr>
        </p:nvSpPr>
        <p:spPr>
          <a:xfrm>
            <a:off x="3877962" y="3956824"/>
            <a:ext cx="8042368" cy="656274"/>
          </a:xfrm>
          <a:prstGeom prst="rect">
            <a:avLst/>
          </a:prstGeom>
          <a:noFill/>
        </p:spPr>
        <p:txBody>
          <a:bodyPr/>
          <a:lstStyle>
            <a:lvl1pPr>
              <a:defRPr sz="3200" baseline="0">
                <a:solidFill>
                  <a:srgbClr val="049DC4"/>
                </a:solidFill>
              </a:defRPr>
            </a:lvl1pPr>
          </a:lstStyle>
          <a:p>
            <a:r>
              <a:rPr lang="en-US" dirty="0"/>
              <a:t>Click to edit Master title style</a:t>
            </a:r>
          </a:p>
        </p:txBody>
      </p:sp>
      <p:sp>
        <p:nvSpPr>
          <p:cNvPr id="13" name="Text Placeholder 12">
            <a:extLst>
              <a:ext uri="{FF2B5EF4-FFF2-40B4-BE49-F238E27FC236}">
                <a16:creationId xmlns:a16="http://schemas.microsoft.com/office/drawing/2014/main" id="{6F27629C-F8CE-394C-AB77-2C70E78772B0}"/>
              </a:ext>
            </a:extLst>
          </p:cNvPr>
          <p:cNvSpPr>
            <a:spLocks noGrp="1"/>
          </p:cNvSpPr>
          <p:nvPr>
            <p:ph type="body" sz="quarter" idx="13" hasCustomPrompt="1"/>
          </p:nvPr>
        </p:nvSpPr>
        <p:spPr>
          <a:xfrm>
            <a:off x="3878262" y="4613098"/>
            <a:ext cx="8042067" cy="578732"/>
          </a:xfrm>
          <a:prstGeom prst="rect">
            <a:avLst/>
          </a:prstGeom>
        </p:spPr>
        <p:txBody>
          <a:bodyPr/>
          <a:lstStyle>
            <a:lvl1pPr marL="0" indent="0">
              <a:buNone/>
              <a:defRPr sz="1800" cap="all" baseline="0">
                <a:solidFill>
                  <a:srgbClr val="079CC5"/>
                </a:solidFill>
                <a:latin typeface="Arial Narrow" panose="020B0606020202030204" pitchFamily="34" charset="0"/>
              </a:defRPr>
            </a:lvl1pPr>
          </a:lstStyle>
          <a:p>
            <a:pPr lvl="0"/>
            <a:r>
              <a:rPr lang="en-US" dirty="0"/>
              <a:t>Click to edit master subtitle style</a:t>
            </a:r>
          </a:p>
        </p:txBody>
      </p:sp>
      <p:pic>
        <p:nvPicPr>
          <p:cNvPr id="3" name="Picture 2">
            <a:extLst>
              <a:ext uri="{FF2B5EF4-FFF2-40B4-BE49-F238E27FC236}">
                <a16:creationId xmlns:a16="http://schemas.microsoft.com/office/drawing/2014/main" id="{AFD3B795-1F91-E045-91A7-ABD6E806B541}"/>
              </a:ext>
            </a:extLst>
          </p:cNvPr>
          <p:cNvPicPr>
            <a:picLocks noChangeAspect="1"/>
          </p:cNvPicPr>
          <p:nvPr userDrawn="1"/>
        </p:nvPicPr>
        <p:blipFill>
          <a:blip r:embed="rId2"/>
          <a:stretch>
            <a:fillRect/>
          </a:stretch>
        </p:blipFill>
        <p:spPr>
          <a:xfrm rot="19729498">
            <a:off x="8433352" y="-2286867"/>
            <a:ext cx="4191000" cy="6502400"/>
          </a:xfrm>
          <a:prstGeom prst="rect">
            <a:avLst/>
          </a:prstGeom>
        </p:spPr>
      </p:pic>
      <p:sp>
        <p:nvSpPr>
          <p:cNvPr id="14" name="Text Placeholder 14">
            <a:extLst>
              <a:ext uri="{FF2B5EF4-FFF2-40B4-BE49-F238E27FC236}">
                <a16:creationId xmlns:a16="http://schemas.microsoft.com/office/drawing/2014/main" id="{40CE4AD8-9D8B-4004-AA83-086AA689E748}"/>
              </a:ext>
            </a:extLst>
          </p:cNvPr>
          <p:cNvSpPr>
            <a:spLocks noGrp="1"/>
          </p:cNvSpPr>
          <p:nvPr>
            <p:ph type="body" sz="quarter" idx="14" hasCustomPrompt="1"/>
          </p:nvPr>
        </p:nvSpPr>
        <p:spPr>
          <a:xfrm>
            <a:off x="291547" y="1015542"/>
            <a:ext cx="3924853" cy="245274"/>
          </a:xfrm>
          <a:prstGeom prst="rect">
            <a:avLst/>
          </a:prstGeom>
          <a:ln>
            <a:noFill/>
          </a:ln>
        </p:spPr>
        <p:txBody>
          <a:bodyPr/>
          <a:lstStyle>
            <a:lvl1pPr marL="0" indent="0">
              <a:buNone/>
              <a:defRPr sz="1200" b="1" i="0" cap="all" baseline="0">
                <a:latin typeface="Arial Narrow" panose="020B0606020202030204" pitchFamily="34" charset="0"/>
              </a:defRPr>
            </a:lvl1pPr>
          </a:lstStyle>
          <a:p>
            <a:pPr lvl="0"/>
            <a:r>
              <a:rPr lang="en-US" dirty="0"/>
              <a:t>Center For Higher Education policy studies</a:t>
            </a:r>
          </a:p>
        </p:txBody>
      </p:sp>
      <p:pic>
        <p:nvPicPr>
          <p:cNvPr id="16" name="Picture 4" descr="Logo cheps4a">
            <a:extLst>
              <a:ext uri="{FF2B5EF4-FFF2-40B4-BE49-F238E27FC236}">
                <a16:creationId xmlns:a16="http://schemas.microsoft.com/office/drawing/2014/main" id="{B525C7A4-F9F5-499D-BDA1-8C20A78DC0E3}"/>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r="42131" b="49164"/>
          <a:stretch>
            <a:fillRect/>
          </a:stretch>
        </p:blipFill>
        <p:spPr bwMode="auto">
          <a:xfrm>
            <a:off x="2222571" y="327501"/>
            <a:ext cx="1300557" cy="650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877373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A5814A3-9BF4-4DDC-928F-DC0C79587FBE}"/>
              </a:ext>
            </a:extLst>
          </p:cNvPr>
          <p:cNvSpPr/>
          <p:nvPr userDrawn="1"/>
        </p:nvSpPr>
        <p:spPr>
          <a:xfrm>
            <a:off x="1113183" y="976281"/>
            <a:ext cx="1341782" cy="57039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54525F95-2084-1749-8995-0F7ADA47DBC1}"/>
              </a:ext>
            </a:extLst>
          </p:cNvPr>
          <p:cNvSpPr>
            <a:spLocks noGrp="1"/>
          </p:cNvSpPr>
          <p:nvPr>
            <p:ph type="title"/>
          </p:nvPr>
        </p:nvSpPr>
        <p:spPr>
          <a:xfrm>
            <a:off x="1265583" y="1143000"/>
            <a:ext cx="10515600" cy="712788"/>
          </a:xfrm>
          <a:prstGeom prst="rect">
            <a:avLst/>
          </a:prstGeom>
          <a:solidFill>
            <a:schemeClr val="bg1"/>
          </a:solidFill>
        </p:spPr>
        <p:txBody>
          <a:bodyPr/>
          <a:lstStyle>
            <a:lvl1pPr>
              <a:defRPr b="1" i="0" cap="all" baseline="0">
                <a:solidFill>
                  <a:srgbClr val="469BC0"/>
                </a:solidFill>
                <a:latin typeface="Arial Narrow" panose="020B060602020203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C56236C3-F128-2047-A24D-4E92155BE396}"/>
              </a:ext>
            </a:extLst>
          </p:cNvPr>
          <p:cNvSpPr>
            <a:spLocks noGrp="1"/>
          </p:cNvSpPr>
          <p:nvPr>
            <p:ph sz="half" idx="1"/>
          </p:nvPr>
        </p:nvSpPr>
        <p:spPr>
          <a:xfrm>
            <a:off x="1265583" y="1990725"/>
            <a:ext cx="5181600" cy="4163346"/>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4453D227-31C2-2142-8A6B-8F5EE0A4EB13}"/>
              </a:ext>
            </a:extLst>
          </p:cNvPr>
          <p:cNvSpPr>
            <a:spLocks noGrp="1"/>
          </p:cNvSpPr>
          <p:nvPr>
            <p:ph sz="half" idx="2"/>
          </p:nvPr>
        </p:nvSpPr>
        <p:spPr>
          <a:xfrm>
            <a:off x="6599583" y="1990725"/>
            <a:ext cx="5181600" cy="4163346"/>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9" name="Picture 4" descr="Logo cheps4a">
            <a:extLst>
              <a:ext uri="{FF2B5EF4-FFF2-40B4-BE49-F238E27FC236}">
                <a16:creationId xmlns:a16="http://schemas.microsoft.com/office/drawing/2014/main" id="{AD7C0DFD-7960-4F51-8037-077A68A5FC06}"/>
              </a:ext>
            </a:extLst>
          </p:cNvPr>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r="42131" b="49164"/>
          <a:stretch>
            <a:fillRect/>
          </a:stretch>
        </p:blipFill>
        <p:spPr bwMode="auto">
          <a:xfrm>
            <a:off x="10318143" y="244761"/>
            <a:ext cx="146304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A0EFFED9-1AE8-4EEC-9BDC-4EF4AA796E32}"/>
              </a:ext>
            </a:extLst>
          </p:cNvPr>
          <p:cNvPicPr>
            <a:picLocks noChangeAspect="1"/>
          </p:cNvPicPr>
          <p:nvPr userDrawn="1"/>
        </p:nvPicPr>
        <p:blipFill rotWithShape="1">
          <a:blip r:embed="rId3"/>
          <a:srcRect l="50994"/>
          <a:stretch/>
        </p:blipFill>
        <p:spPr>
          <a:xfrm>
            <a:off x="0" y="365125"/>
            <a:ext cx="1026917" cy="3251200"/>
          </a:xfrm>
          <a:prstGeom prst="rect">
            <a:avLst/>
          </a:prstGeom>
        </p:spPr>
      </p:pic>
      <p:sp>
        <p:nvSpPr>
          <p:cNvPr id="12" name="Slide Number Placeholder 7">
            <a:extLst>
              <a:ext uri="{FF2B5EF4-FFF2-40B4-BE49-F238E27FC236}">
                <a16:creationId xmlns:a16="http://schemas.microsoft.com/office/drawing/2014/main" id="{6996491D-0011-4586-82C7-2AF6E26C9344}"/>
              </a:ext>
            </a:extLst>
          </p:cNvPr>
          <p:cNvSpPr>
            <a:spLocks noGrp="1"/>
          </p:cNvSpPr>
          <p:nvPr>
            <p:ph type="sldNum" sz="quarter" idx="10"/>
          </p:nvPr>
        </p:nvSpPr>
        <p:spPr>
          <a:xfrm>
            <a:off x="11447252" y="6356350"/>
            <a:ext cx="352703" cy="365125"/>
          </a:xfrm>
          <a:ln>
            <a:noFill/>
          </a:ln>
        </p:spPr>
        <p:txBody>
          <a:bodyPr/>
          <a:lstStyle>
            <a:lvl1pPr>
              <a:defRPr sz="1000">
                <a:solidFill>
                  <a:srgbClr val="469BC0"/>
                </a:solidFill>
              </a:defRPr>
            </a:lvl1pPr>
          </a:lstStyle>
          <a:p>
            <a:fld id="{6586D83B-F5E2-6149-B7DD-0F6F1BA75908}" type="slidenum">
              <a:rPr lang="en-US" smtClean="0"/>
              <a:pPr/>
              <a:t>‹nr.›</a:t>
            </a:fld>
            <a:endParaRPr lang="en-US" sz="1000" dirty="0"/>
          </a:p>
        </p:txBody>
      </p:sp>
      <p:sp>
        <p:nvSpPr>
          <p:cNvPr id="13" name="Footer Placeholder 1">
            <a:extLst>
              <a:ext uri="{FF2B5EF4-FFF2-40B4-BE49-F238E27FC236}">
                <a16:creationId xmlns:a16="http://schemas.microsoft.com/office/drawing/2014/main" id="{680B0F55-C966-4AAC-A9B1-A06B11464547}"/>
              </a:ext>
            </a:extLst>
          </p:cNvPr>
          <p:cNvSpPr>
            <a:spLocks noGrp="1"/>
          </p:cNvSpPr>
          <p:nvPr>
            <p:ph type="ftr" sz="quarter" idx="11"/>
          </p:nvPr>
        </p:nvSpPr>
        <p:spPr>
          <a:xfrm>
            <a:off x="6017268" y="6357848"/>
            <a:ext cx="5292493" cy="365125"/>
          </a:xfrm>
        </p:spPr>
        <p:txBody>
          <a:bodyPr/>
          <a:lstStyle>
            <a:lvl1pPr>
              <a:defRPr sz="1000">
                <a:solidFill>
                  <a:srgbClr val="469BC0"/>
                </a:solidFill>
              </a:defRPr>
            </a:lvl1pPr>
          </a:lstStyle>
          <a:p>
            <a:r>
              <a:rPr lang="en-GB" sz="1000"/>
              <a:t>AESIS CONFERENCE 23-25 June 2020 | Cape Town | Barend van der Meulen</a:t>
            </a:r>
            <a:endParaRPr lang="en-GB" sz="1000" dirty="0"/>
          </a:p>
        </p:txBody>
      </p:sp>
    </p:spTree>
    <p:extLst>
      <p:ext uri="{BB962C8B-B14F-4D97-AF65-F5344CB8AC3E}">
        <p14:creationId xmlns:p14="http://schemas.microsoft.com/office/powerpoint/2010/main" val="16080715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B2C5D87-D803-461A-8C54-4ECB960FB3E7}"/>
              </a:ext>
            </a:extLst>
          </p:cNvPr>
          <p:cNvSpPr/>
          <p:nvPr userDrawn="1"/>
        </p:nvSpPr>
        <p:spPr>
          <a:xfrm>
            <a:off x="1113183" y="976281"/>
            <a:ext cx="1341782" cy="57039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54525F95-2084-1749-8995-0F7ADA47DBC1}"/>
              </a:ext>
            </a:extLst>
          </p:cNvPr>
          <p:cNvSpPr>
            <a:spLocks noGrp="1"/>
          </p:cNvSpPr>
          <p:nvPr>
            <p:ph type="title"/>
          </p:nvPr>
        </p:nvSpPr>
        <p:spPr>
          <a:xfrm>
            <a:off x="1265583" y="1143000"/>
            <a:ext cx="10515600" cy="712788"/>
          </a:xfrm>
          <a:prstGeom prst="rect">
            <a:avLst/>
          </a:prstGeom>
          <a:solidFill>
            <a:schemeClr val="bg1"/>
          </a:solidFill>
        </p:spPr>
        <p:txBody>
          <a:bodyPr/>
          <a:lstStyle>
            <a:lvl1pPr>
              <a:defRPr b="1" i="0" cap="all" baseline="0">
                <a:solidFill>
                  <a:srgbClr val="469BC0"/>
                </a:solidFill>
                <a:latin typeface="Arial Narrow" panose="020B0606020202030204" pitchFamily="34" charset="0"/>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C56236C3-F128-2047-A24D-4E92155BE396}"/>
              </a:ext>
            </a:extLst>
          </p:cNvPr>
          <p:cNvSpPr>
            <a:spLocks noGrp="1"/>
          </p:cNvSpPr>
          <p:nvPr>
            <p:ph sz="half" idx="1"/>
          </p:nvPr>
        </p:nvSpPr>
        <p:spPr>
          <a:xfrm>
            <a:off x="1265582" y="1990725"/>
            <a:ext cx="10515600" cy="4163346"/>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lide Number Placeholder 7">
            <a:extLst>
              <a:ext uri="{FF2B5EF4-FFF2-40B4-BE49-F238E27FC236}">
                <a16:creationId xmlns:a16="http://schemas.microsoft.com/office/drawing/2014/main" id="{C319C0FD-7D63-9F4C-BCA4-72FE8BDD1A08}"/>
              </a:ext>
            </a:extLst>
          </p:cNvPr>
          <p:cNvSpPr>
            <a:spLocks noGrp="1"/>
          </p:cNvSpPr>
          <p:nvPr>
            <p:ph type="sldNum" sz="quarter" idx="10"/>
          </p:nvPr>
        </p:nvSpPr>
        <p:spPr>
          <a:xfrm>
            <a:off x="11447252" y="6356350"/>
            <a:ext cx="352703" cy="365125"/>
          </a:xfrm>
          <a:ln>
            <a:noFill/>
          </a:ln>
        </p:spPr>
        <p:txBody>
          <a:bodyPr/>
          <a:lstStyle>
            <a:lvl1pPr>
              <a:defRPr sz="1000">
                <a:solidFill>
                  <a:srgbClr val="469BC0"/>
                </a:solidFill>
              </a:defRPr>
            </a:lvl1pPr>
          </a:lstStyle>
          <a:p>
            <a:fld id="{6586D83B-F5E2-6149-B7DD-0F6F1BA75908}" type="slidenum">
              <a:rPr lang="en-US" smtClean="0"/>
              <a:pPr/>
              <a:t>‹nr.›</a:t>
            </a:fld>
            <a:endParaRPr lang="en-US" sz="1000" dirty="0"/>
          </a:p>
        </p:txBody>
      </p:sp>
      <p:pic>
        <p:nvPicPr>
          <p:cNvPr id="9" name="Picture 4" descr="Logo cheps4a">
            <a:extLst>
              <a:ext uri="{FF2B5EF4-FFF2-40B4-BE49-F238E27FC236}">
                <a16:creationId xmlns:a16="http://schemas.microsoft.com/office/drawing/2014/main" id="{AD7C0DFD-7960-4F51-8037-077A68A5FC06}"/>
              </a:ext>
            </a:extLst>
          </p:cNvPr>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r="42131" b="49164"/>
          <a:stretch>
            <a:fillRect/>
          </a:stretch>
        </p:blipFill>
        <p:spPr bwMode="auto">
          <a:xfrm>
            <a:off x="10318143" y="244761"/>
            <a:ext cx="146304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1">
            <a:extLst>
              <a:ext uri="{FF2B5EF4-FFF2-40B4-BE49-F238E27FC236}">
                <a16:creationId xmlns:a16="http://schemas.microsoft.com/office/drawing/2014/main" id="{923EA0FF-92EC-41C0-BE33-035488A3C72E}"/>
              </a:ext>
            </a:extLst>
          </p:cNvPr>
          <p:cNvSpPr>
            <a:spLocks noGrp="1"/>
          </p:cNvSpPr>
          <p:nvPr>
            <p:ph type="ftr" sz="quarter" idx="11"/>
          </p:nvPr>
        </p:nvSpPr>
        <p:spPr>
          <a:xfrm>
            <a:off x="6017268" y="6357848"/>
            <a:ext cx="5292493" cy="365125"/>
          </a:xfrm>
        </p:spPr>
        <p:txBody>
          <a:bodyPr/>
          <a:lstStyle>
            <a:lvl1pPr>
              <a:defRPr sz="1000">
                <a:solidFill>
                  <a:srgbClr val="469BC0"/>
                </a:solidFill>
              </a:defRPr>
            </a:lvl1pPr>
          </a:lstStyle>
          <a:p>
            <a:r>
              <a:rPr lang="en-GB" sz="1000"/>
              <a:t>AESIS CONFERENCE 23-25 June 2020 | Cape Town | Barend van der Meulen</a:t>
            </a:r>
            <a:endParaRPr lang="en-GB" sz="1000" dirty="0"/>
          </a:p>
        </p:txBody>
      </p:sp>
      <p:pic>
        <p:nvPicPr>
          <p:cNvPr id="11" name="Picture 10">
            <a:extLst>
              <a:ext uri="{FF2B5EF4-FFF2-40B4-BE49-F238E27FC236}">
                <a16:creationId xmlns:a16="http://schemas.microsoft.com/office/drawing/2014/main" id="{88CAEC6F-91B1-4590-841A-7F7B8CD1C57E}"/>
              </a:ext>
            </a:extLst>
          </p:cNvPr>
          <p:cNvPicPr>
            <a:picLocks noChangeAspect="1"/>
          </p:cNvPicPr>
          <p:nvPr userDrawn="1"/>
        </p:nvPicPr>
        <p:blipFill rotWithShape="1">
          <a:blip r:embed="rId3"/>
          <a:srcRect l="50994"/>
          <a:stretch/>
        </p:blipFill>
        <p:spPr>
          <a:xfrm>
            <a:off x="0" y="365125"/>
            <a:ext cx="1026917" cy="3251200"/>
          </a:xfrm>
          <a:prstGeom prst="rect">
            <a:avLst/>
          </a:prstGeom>
        </p:spPr>
      </p:pic>
    </p:spTree>
    <p:extLst>
      <p:ext uri="{BB962C8B-B14F-4D97-AF65-F5344CB8AC3E}">
        <p14:creationId xmlns:p14="http://schemas.microsoft.com/office/powerpoint/2010/main" val="19609926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FD8E99-BA8A-8C41-BF0E-FD50151A9C7C}"/>
              </a:ext>
            </a:extLst>
          </p:cNvPr>
          <p:cNvSpPr>
            <a:spLocks noGrp="1"/>
          </p:cNvSpPr>
          <p:nvPr>
            <p:ph type="title"/>
          </p:nvPr>
        </p:nvSpPr>
        <p:spPr>
          <a:xfrm>
            <a:off x="1265583" y="1101410"/>
            <a:ext cx="10515600" cy="731520"/>
          </a:xfrm>
          <a:prstGeom prst="rect">
            <a:avLst/>
          </a:prstGeom>
        </p:spPr>
        <p:txBody>
          <a:bodyPr/>
          <a:lstStyle>
            <a:lvl1pPr>
              <a:defRPr b="1" i="0" cap="all" baseline="0">
                <a:solidFill>
                  <a:srgbClr val="469BC0"/>
                </a:solidFill>
                <a:latin typeface="Arial Narrow" panose="020B0606020202030204" pitchFamily="34" charset="0"/>
              </a:defRPr>
            </a:lvl1pPr>
          </a:lstStyle>
          <a:p>
            <a:r>
              <a:rPr lang="en-US"/>
              <a:t>Click to edit Master title style</a:t>
            </a:r>
            <a:endParaRPr lang="en-US" dirty="0"/>
          </a:p>
        </p:txBody>
      </p:sp>
      <p:pic>
        <p:nvPicPr>
          <p:cNvPr id="5" name="Picture 4" descr="Logo cheps4a">
            <a:extLst>
              <a:ext uri="{FF2B5EF4-FFF2-40B4-BE49-F238E27FC236}">
                <a16:creationId xmlns:a16="http://schemas.microsoft.com/office/drawing/2014/main" id="{802B98B2-8749-41E6-8111-CC89DA4DCF82}"/>
              </a:ext>
            </a:extLst>
          </p:cNvPr>
          <p:cNvPicPr preferRelativeResize="0">
            <a:picLocks noChangeAspect="1" noChangeArrowheads="1"/>
          </p:cNvPicPr>
          <p:nvPr userDrawn="1"/>
        </p:nvPicPr>
        <p:blipFill>
          <a:blip r:embed="rId2" cstate="print">
            <a:extLst>
              <a:ext uri="{28A0092B-C50C-407E-A947-70E740481C1C}">
                <a14:useLocalDpi xmlns:a14="http://schemas.microsoft.com/office/drawing/2010/main" val="0"/>
              </a:ext>
            </a:extLst>
          </a:blip>
          <a:srcRect r="42131" b="49164"/>
          <a:stretch>
            <a:fillRect/>
          </a:stretch>
        </p:blipFill>
        <p:spPr bwMode="auto">
          <a:xfrm>
            <a:off x="10318143" y="244761"/>
            <a:ext cx="146304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31250758-A6D0-4E65-B9BF-27BE0F9E21CF}"/>
              </a:ext>
            </a:extLst>
          </p:cNvPr>
          <p:cNvPicPr>
            <a:picLocks noChangeAspect="1"/>
          </p:cNvPicPr>
          <p:nvPr userDrawn="1"/>
        </p:nvPicPr>
        <p:blipFill rotWithShape="1">
          <a:blip r:embed="rId3"/>
          <a:srcRect l="50994"/>
          <a:stretch/>
        </p:blipFill>
        <p:spPr>
          <a:xfrm>
            <a:off x="0" y="365125"/>
            <a:ext cx="1026917" cy="3251200"/>
          </a:xfrm>
          <a:prstGeom prst="rect">
            <a:avLst/>
          </a:prstGeom>
        </p:spPr>
      </p:pic>
      <p:sp>
        <p:nvSpPr>
          <p:cNvPr id="10" name="Slide Number Placeholder 7">
            <a:extLst>
              <a:ext uri="{FF2B5EF4-FFF2-40B4-BE49-F238E27FC236}">
                <a16:creationId xmlns:a16="http://schemas.microsoft.com/office/drawing/2014/main" id="{BAA26FC1-4CE6-478B-B5E0-C19AD5A97CDB}"/>
              </a:ext>
            </a:extLst>
          </p:cNvPr>
          <p:cNvSpPr>
            <a:spLocks noGrp="1"/>
          </p:cNvSpPr>
          <p:nvPr>
            <p:ph type="sldNum" sz="quarter" idx="10"/>
          </p:nvPr>
        </p:nvSpPr>
        <p:spPr>
          <a:xfrm>
            <a:off x="11447252" y="6356350"/>
            <a:ext cx="352703" cy="365125"/>
          </a:xfrm>
          <a:ln>
            <a:noFill/>
          </a:ln>
        </p:spPr>
        <p:txBody>
          <a:bodyPr/>
          <a:lstStyle>
            <a:lvl1pPr>
              <a:defRPr sz="1000">
                <a:solidFill>
                  <a:srgbClr val="469BC0"/>
                </a:solidFill>
              </a:defRPr>
            </a:lvl1pPr>
          </a:lstStyle>
          <a:p>
            <a:fld id="{6586D83B-F5E2-6149-B7DD-0F6F1BA75908}" type="slidenum">
              <a:rPr lang="en-US" smtClean="0"/>
              <a:pPr/>
              <a:t>‹nr.›</a:t>
            </a:fld>
            <a:endParaRPr lang="en-US" sz="1000" dirty="0"/>
          </a:p>
        </p:txBody>
      </p:sp>
      <p:sp>
        <p:nvSpPr>
          <p:cNvPr id="11" name="Footer Placeholder 1">
            <a:extLst>
              <a:ext uri="{FF2B5EF4-FFF2-40B4-BE49-F238E27FC236}">
                <a16:creationId xmlns:a16="http://schemas.microsoft.com/office/drawing/2014/main" id="{CE4EC2E2-611C-413D-BFB9-E4B937960186}"/>
              </a:ext>
            </a:extLst>
          </p:cNvPr>
          <p:cNvSpPr>
            <a:spLocks noGrp="1"/>
          </p:cNvSpPr>
          <p:nvPr>
            <p:ph type="ftr" sz="quarter" idx="11"/>
          </p:nvPr>
        </p:nvSpPr>
        <p:spPr>
          <a:xfrm>
            <a:off x="6017268" y="6357848"/>
            <a:ext cx="5292493" cy="365125"/>
          </a:xfrm>
        </p:spPr>
        <p:txBody>
          <a:bodyPr/>
          <a:lstStyle>
            <a:lvl1pPr>
              <a:defRPr sz="1000">
                <a:solidFill>
                  <a:srgbClr val="469BC0"/>
                </a:solidFill>
              </a:defRPr>
            </a:lvl1pPr>
          </a:lstStyle>
          <a:p>
            <a:r>
              <a:rPr lang="en-GB" sz="1000"/>
              <a:t>AESIS CONFERENCE 23-25 June 2020 | Cape Town | Barend van der Meulen</a:t>
            </a:r>
            <a:endParaRPr lang="en-GB" sz="1000" dirty="0"/>
          </a:p>
        </p:txBody>
      </p:sp>
    </p:spTree>
    <p:extLst>
      <p:ext uri="{BB962C8B-B14F-4D97-AF65-F5344CB8AC3E}">
        <p14:creationId xmlns:p14="http://schemas.microsoft.com/office/powerpoint/2010/main" val="182360533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8" name="Date Placeholder 7">
            <a:extLst>
              <a:ext uri="{FF2B5EF4-FFF2-40B4-BE49-F238E27FC236}">
                <a16:creationId xmlns:a16="http://schemas.microsoft.com/office/drawing/2014/main" id="{1E75471C-02C9-9145-8C0F-DCA7171A280A}"/>
              </a:ext>
            </a:extLst>
          </p:cNvPr>
          <p:cNvSpPr>
            <a:spLocks noGrp="1"/>
          </p:cNvSpPr>
          <p:nvPr>
            <p:ph type="dt" sz="half" idx="10"/>
          </p:nvPr>
        </p:nvSpPr>
        <p:spPr>
          <a:xfrm>
            <a:off x="291547" y="6356350"/>
            <a:ext cx="3361196" cy="365125"/>
          </a:xfrm>
        </p:spPr>
        <p:txBody>
          <a:bodyPr/>
          <a:lstStyle>
            <a:lvl1pPr>
              <a:defRPr cap="all" baseline="0">
                <a:latin typeface="Arial" panose="020B0604020202020204" pitchFamily="34" charset="0"/>
              </a:defRPr>
            </a:lvl1pPr>
          </a:lstStyle>
          <a:p>
            <a:endParaRPr lang="en-US" dirty="0"/>
          </a:p>
        </p:txBody>
      </p:sp>
      <p:sp>
        <p:nvSpPr>
          <p:cNvPr id="9" name="Footer Placeholder 8">
            <a:extLst>
              <a:ext uri="{FF2B5EF4-FFF2-40B4-BE49-F238E27FC236}">
                <a16:creationId xmlns:a16="http://schemas.microsoft.com/office/drawing/2014/main" id="{CB692917-398F-D34C-A817-2150667F5369}"/>
              </a:ext>
            </a:extLst>
          </p:cNvPr>
          <p:cNvSpPr>
            <a:spLocks noGrp="1"/>
          </p:cNvSpPr>
          <p:nvPr>
            <p:ph type="ftr" sz="quarter" idx="11"/>
          </p:nvPr>
        </p:nvSpPr>
        <p:spPr>
          <a:xfrm>
            <a:off x="3877961" y="6356350"/>
            <a:ext cx="7207551" cy="365125"/>
          </a:xfrm>
        </p:spPr>
        <p:txBody>
          <a:bodyPr/>
          <a:lstStyle>
            <a:lvl1pPr algn="l">
              <a:defRPr cap="all" baseline="0">
                <a:latin typeface="Arial" panose="020B0604020202020204" pitchFamily="34" charset="0"/>
              </a:defRPr>
            </a:lvl1pPr>
          </a:lstStyle>
          <a:p>
            <a:r>
              <a:rPr lang="en-US"/>
              <a:t>AESIS CONFERENCE 23-25 June 2020 | Cape Town | Barend van der Meulen</a:t>
            </a:r>
            <a:endParaRPr lang="en-US" dirty="0"/>
          </a:p>
        </p:txBody>
      </p:sp>
      <p:sp>
        <p:nvSpPr>
          <p:cNvPr id="10" name="Slide Number Placeholder 9">
            <a:extLst>
              <a:ext uri="{FF2B5EF4-FFF2-40B4-BE49-F238E27FC236}">
                <a16:creationId xmlns:a16="http://schemas.microsoft.com/office/drawing/2014/main" id="{DEBF3654-DD81-DB45-9602-B09B3CF80270}"/>
              </a:ext>
            </a:extLst>
          </p:cNvPr>
          <p:cNvSpPr>
            <a:spLocks noGrp="1"/>
          </p:cNvSpPr>
          <p:nvPr>
            <p:ph type="sldNum" sz="quarter" idx="12"/>
          </p:nvPr>
        </p:nvSpPr>
        <p:spPr>
          <a:xfrm>
            <a:off x="11310730" y="6356350"/>
            <a:ext cx="609600" cy="365125"/>
          </a:xfrm>
        </p:spPr>
        <p:txBody>
          <a:bodyPr/>
          <a:lstStyle>
            <a:lvl1pPr>
              <a:defRPr cap="all" baseline="0">
                <a:latin typeface="Arial" panose="020B0604020202020204" pitchFamily="34" charset="0"/>
              </a:defRPr>
            </a:lvl1pPr>
          </a:lstStyle>
          <a:p>
            <a:fld id="{59D79D20-9926-6947-91A9-E826DAB4C488}" type="slidenum">
              <a:rPr lang="en-US" smtClean="0"/>
              <a:pPr/>
              <a:t>‹nr.›</a:t>
            </a:fld>
            <a:endParaRPr lang="en-US" dirty="0"/>
          </a:p>
        </p:txBody>
      </p:sp>
      <p:sp>
        <p:nvSpPr>
          <p:cNvPr id="11" name="Title 10">
            <a:extLst>
              <a:ext uri="{FF2B5EF4-FFF2-40B4-BE49-F238E27FC236}">
                <a16:creationId xmlns:a16="http://schemas.microsoft.com/office/drawing/2014/main" id="{DA016B96-8B58-2D47-BB97-1861188CC4A9}"/>
              </a:ext>
            </a:extLst>
          </p:cNvPr>
          <p:cNvSpPr>
            <a:spLocks noGrp="1"/>
          </p:cNvSpPr>
          <p:nvPr>
            <p:ph type="title"/>
          </p:nvPr>
        </p:nvSpPr>
        <p:spPr>
          <a:xfrm>
            <a:off x="3877962" y="3956824"/>
            <a:ext cx="8042368" cy="656274"/>
          </a:xfrm>
          <a:prstGeom prst="rect">
            <a:avLst/>
          </a:prstGeom>
          <a:noFill/>
        </p:spPr>
        <p:txBody>
          <a:bodyPr/>
          <a:lstStyle>
            <a:lvl1pPr>
              <a:defRPr sz="3200" baseline="0">
                <a:solidFill>
                  <a:schemeClr val="accent6"/>
                </a:solidFill>
              </a:defRPr>
            </a:lvl1pPr>
          </a:lstStyle>
          <a:p>
            <a:r>
              <a:rPr lang="en-US"/>
              <a:t>Click to edit Master title style</a:t>
            </a:r>
            <a:endParaRPr lang="en-US" dirty="0"/>
          </a:p>
        </p:txBody>
      </p:sp>
      <p:sp>
        <p:nvSpPr>
          <p:cNvPr id="13" name="Text Placeholder 12">
            <a:extLst>
              <a:ext uri="{FF2B5EF4-FFF2-40B4-BE49-F238E27FC236}">
                <a16:creationId xmlns:a16="http://schemas.microsoft.com/office/drawing/2014/main" id="{6F27629C-F8CE-394C-AB77-2C70E78772B0}"/>
              </a:ext>
            </a:extLst>
          </p:cNvPr>
          <p:cNvSpPr>
            <a:spLocks noGrp="1"/>
          </p:cNvSpPr>
          <p:nvPr>
            <p:ph type="body" sz="quarter" idx="13" hasCustomPrompt="1"/>
          </p:nvPr>
        </p:nvSpPr>
        <p:spPr>
          <a:xfrm>
            <a:off x="3878262" y="4613098"/>
            <a:ext cx="8042067" cy="578732"/>
          </a:xfrm>
          <a:prstGeom prst="rect">
            <a:avLst/>
          </a:prstGeom>
        </p:spPr>
        <p:txBody>
          <a:bodyPr/>
          <a:lstStyle>
            <a:lvl1pPr marL="0" indent="0">
              <a:buNone/>
              <a:defRPr sz="1800" cap="all" baseline="0">
                <a:solidFill>
                  <a:schemeClr val="accent6"/>
                </a:solidFill>
                <a:latin typeface="Arial Narrow" panose="020B0606020202030204" pitchFamily="34" charset="0"/>
              </a:defRPr>
            </a:lvl1pPr>
          </a:lstStyle>
          <a:p>
            <a:pPr lvl="0"/>
            <a:r>
              <a:rPr lang="en-US" dirty="0"/>
              <a:t>Click to edit master subtitle style</a:t>
            </a:r>
          </a:p>
        </p:txBody>
      </p:sp>
      <p:pic>
        <p:nvPicPr>
          <p:cNvPr id="3" name="Picture 2">
            <a:extLst>
              <a:ext uri="{FF2B5EF4-FFF2-40B4-BE49-F238E27FC236}">
                <a16:creationId xmlns:a16="http://schemas.microsoft.com/office/drawing/2014/main" id="{7BBE68D8-70A6-7246-8BE1-4483AA758C93}"/>
              </a:ext>
            </a:extLst>
          </p:cNvPr>
          <p:cNvPicPr>
            <a:picLocks noChangeAspect="1"/>
          </p:cNvPicPr>
          <p:nvPr userDrawn="1"/>
        </p:nvPicPr>
        <p:blipFill>
          <a:blip r:embed="rId2"/>
          <a:stretch>
            <a:fillRect/>
          </a:stretch>
        </p:blipFill>
        <p:spPr>
          <a:xfrm rot="20358674">
            <a:off x="7869330" y="-3081337"/>
            <a:ext cx="5006078" cy="6858000"/>
          </a:xfrm>
          <a:prstGeom prst="rect">
            <a:avLst/>
          </a:prstGeom>
        </p:spPr>
      </p:pic>
      <p:sp>
        <p:nvSpPr>
          <p:cNvPr id="12" name="Text Placeholder 14">
            <a:extLst>
              <a:ext uri="{FF2B5EF4-FFF2-40B4-BE49-F238E27FC236}">
                <a16:creationId xmlns:a16="http://schemas.microsoft.com/office/drawing/2014/main" id="{637013AF-A609-4257-BD7B-5C38CF81B3C5}"/>
              </a:ext>
            </a:extLst>
          </p:cNvPr>
          <p:cNvSpPr>
            <a:spLocks noGrp="1"/>
          </p:cNvSpPr>
          <p:nvPr>
            <p:ph type="body" sz="quarter" idx="14" hasCustomPrompt="1"/>
          </p:nvPr>
        </p:nvSpPr>
        <p:spPr>
          <a:xfrm>
            <a:off x="359636" y="1697828"/>
            <a:ext cx="3924853" cy="245274"/>
          </a:xfrm>
          <a:prstGeom prst="rect">
            <a:avLst/>
          </a:prstGeom>
          <a:ln>
            <a:noFill/>
          </a:ln>
        </p:spPr>
        <p:txBody>
          <a:bodyPr/>
          <a:lstStyle>
            <a:lvl1pPr marL="0" indent="0">
              <a:buNone/>
              <a:defRPr sz="1400" b="1" i="0" cap="all" baseline="0">
                <a:latin typeface="Arial Narrow" panose="020B0606020202030204" pitchFamily="34" charset="0"/>
              </a:defRPr>
            </a:lvl1pPr>
          </a:lstStyle>
          <a:p>
            <a:pPr lvl="0"/>
            <a:r>
              <a:rPr lang="en-US" dirty="0"/>
              <a:t>Center For Higher Education policy studies</a:t>
            </a:r>
          </a:p>
        </p:txBody>
      </p:sp>
      <p:pic>
        <p:nvPicPr>
          <p:cNvPr id="15" name="Picture 4" descr="Logo cheps4a">
            <a:extLst>
              <a:ext uri="{FF2B5EF4-FFF2-40B4-BE49-F238E27FC236}">
                <a16:creationId xmlns:a16="http://schemas.microsoft.com/office/drawing/2014/main" id="{43E9586C-A2AB-4FD0-B854-ABA6C4DD1022}"/>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r="42131" b="49164"/>
          <a:stretch>
            <a:fillRect/>
          </a:stretch>
        </p:blipFill>
        <p:spPr bwMode="auto">
          <a:xfrm>
            <a:off x="447561" y="1068753"/>
            <a:ext cx="1187808" cy="5939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2046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7990317-B8CE-0340-B898-AD01F005C84C}"/>
              </a:ext>
            </a:extLst>
          </p:cNvPr>
          <p:cNvPicPr>
            <a:picLocks noChangeAspect="1"/>
          </p:cNvPicPr>
          <p:nvPr userDrawn="1"/>
        </p:nvPicPr>
        <p:blipFill>
          <a:blip r:embed="rId2"/>
          <a:stretch>
            <a:fillRect/>
          </a:stretch>
        </p:blipFill>
        <p:spPr>
          <a:xfrm rot="12022122">
            <a:off x="-3659359" y="407505"/>
            <a:ext cx="5006078" cy="6858000"/>
          </a:xfrm>
          <a:prstGeom prst="rect">
            <a:avLst/>
          </a:prstGeom>
        </p:spPr>
      </p:pic>
      <p:sp>
        <p:nvSpPr>
          <p:cNvPr id="8" name="Slide Number Placeholder 7">
            <a:extLst>
              <a:ext uri="{FF2B5EF4-FFF2-40B4-BE49-F238E27FC236}">
                <a16:creationId xmlns:a16="http://schemas.microsoft.com/office/drawing/2014/main" id="{C319C0FD-7D63-9F4C-BCA4-72FE8BDD1A08}"/>
              </a:ext>
            </a:extLst>
          </p:cNvPr>
          <p:cNvSpPr>
            <a:spLocks noGrp="1"/>
          </p:cNvSpPr>
          <p:nvPr>
            <p:ph type="sldNum" sz="quarter" idx="10"/>
          </p:nvPr>
        </p:nvSpPr>
        <p:spPr>
          <a:ln>
            <a:noFill/>
          </a:ln>
        </p:spPr>
        <p:txBody>
          <a:bodyPr/>
          <a:lstStyle/>
          <a:p>
            <a:fld id="{6586D83B-F5E2-6149-B7DD-0F6F1BA75908}" type="slidenum">
              <a:rPr lang="en-US" smtClean="0"/>
              <a:pPr/>
              <a:t>‹nr.›</a:t>
            </a:fld>
            <a:endParaRPr lang="en-US" dirty="0"/>
          </a:p>
        </p:txBody>
      </p:sp>
      <p:sp>
        <p:nvSpPr>
          <p:cNvPr id="13" name="Rectangle 12">
            <a:extLst>
              <a:ext uri="{FF2B5EF4-FFF2-40B4-BE49-F238E27FC236}">
                <a16:creationId xmlns:a16="http://schemas.microsoft.com/office/drawing/2014/main" id="{C5B0A4A7-F590-4322-9152-8BC06E761F95}"/>
              </a:ext>
            </a:extLst>
          </p:cNvPr>
          <p:cNvSpPr/>
          <p:nvPr userDrawn="1"/>
        </p:nvSpPr>
        <p:spPr>
          <a:xfrm>
            <a:off x="1113183" y="1165693"/>
            <a:ext cx="1283176" cy="57039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itle 1">
            <a:extLst>
              <a:ext uri="{FF2B5EF4-FFF2-40B4-BE49-F238E27FC236}">
                <a16:creationId xmlns:a16="http://schemas.microsoft.com/office/drawing/2014/main" id="{84FF48AC-C352-4497-9321-A2289C31EADF}"/>
              </a:ext>
            </a:extLst>
          </p:cNvPr>
          <p:cNvSpPr>
            <a:spLocks noGrp="1"/>
          </p:cNvSpPr>
          <p:nvPr>
            <p:ph type="title"/>
          </p:nvPr>
        </p:nvSpPr>
        <p:spPr>
          <a:xfrm>
            <a:off x="1265583" y="1143000"/>
            <a:ext cx="10515600" cy="712788"/>
          </a:xfrm>
          <a:prstGeom prst="rect">
            <a:avLst/>
          </a:prstGeom>
          <a:solidFill>
            <a:schemeClr val="bg1"/>
          </a:solidFill>
        </p:spPr>
        <p:txBody>
          <a:bodyPr/>
          <a:lstStyle>
            <a:lvl1pPr>
              <a:defRPr b="1" i="0" cap="all" baseline="0">
                <a:latin typeface="Arial Narrow" panose="020B0606020202030204" pitchFamily="34" charset="0"/>
              </a:defRPr>
            </a:lvl1pPr>
          </a:lstStyle>
          <a:p>
            <a:r>
              <a:rPr lang="en-US"/>
              <a:t>Click to edit Master title style</a:t>
            </a:r>
            <a:endParaRPr lang="en-US" dirty="0"/>
          </a:p>
        </p:txBody>
      </p:sp>
      <p:sp>
        <p:nvSpPr>
          <p:cNvPr id="10" name="Content Placeholder 2">
            <a:extLst>
              <a:ext uri="{FF2B5EF4-FFF2-40B4-BE49-F238E27FC236}">
                <a16:creationId xmlns:a16="http://schemas.microsoft.com/office/drawing/2014/main" id="{8A3103BB-4180-43CD-8E03-F7119B58159F}"/>
              </a:ext>
            </a:extLst>
          </p:cNvPr>
          <p:cNvSpPr>
            <a:spLocks noGrp="1"/>
          </p:cNvSpPr>
          <p:nvPr>
            <p:ph sz="half" idx="11"/>
          </p:nvPr>
        </p:nvSpPr>
        <p:spPr>
          <a:xfrm>
            <a:off x="1265583" y="1990725"/>
            <a:ext cx="5181600" cy="4163346"/>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F1A29EF9-D294-4993-9943-F9AE5F5636FB}"/>
              </a:ext>
            </a:extLst>
          </p:cNvPr>
          <p:cNvSpPr>
            <a:spLocks noGrp="1"/>
          </p:cNvSpPr>
          <p:nvPr>
            <p:ph sz="half" idx="12"/>
          </p:nvPr>
        </p:nvSpPr>
        <p:spPr>
          <a:xfrm>
            <a:off x="6598669" y="1992866"/>
            <a:ext cx="5181600" cy="4163346"/>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descr="Logo cheps4a">
            <a:extLst>
              <a:ext uri="{FF2B5EF4-FFF2-40B4-BE49-F238E27FC236}">
                <a16:creationId xmlns:a16="http://schemas.microsoft.com/office/drawing/2014/main" id="{DE153CA8-F33E-4042-B383-A2EC5BEAA0F7}"/>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r="42131" b="49164"/>
          <a:stretch>
            <a:fillRect/>
          </a:stretch>
        </p:blipFill>
        <p:spPr bwMode="auto">
          <a:xfrm>
            <a:off x="10318143" y="244761"/>
            <a:ext cx="146304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689326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7990317-B8CE-0340-B898-AD01F005C84C}"/>
              </a:ext>
            </a:extLst>
          </p:cNvPr>
          <p:cNvPicPr>
            <a:picLocks noChangeAspect="1"/>
          </p:cNvPicPr>
          <p:nvPr userDrawn="1"/>
        </p:nvPicPr>
        <p:blipFill>
          <a:blip r:embed="rId2"/>
          <a:stretch>
            <a:fillRect/>
          </a:stretch>
        </p:blipFill>
        <p:spPr>
          <a:xfrm rot="12022122">
            <a:off x="-3659359" y="407505"/>
            <a:ext cx="5006078" cy="6858000"/>
          </a:xfrm>
          <a:prstGeom prst="rect">
            <a:avLst/>
          </a:prstGeom>
        </p:spPr>
      </p:pic>
      <p:sp>
        <p:nvSpPr>
          <p:cNvPr id="8" name="Slide Number Placeholder 7">
            <a:extLst>
              <a:ext uri="{FF2B5EF4-FFF2-40B4-BE49-F238E27FC236}">
                <a16:creationId xmlns:a16="http://schemas.microsoft.com/office/drawing/2014/main" id="{C319C0FD-7D63-9F4C-BCA4-72FE8BDD1A08}"/>
              </a:ext>
            </a:extLst>
          </p:cNvPr>
          <p:cNvSpPr>
            <a:spLocks noGrp="1"/>
          </p:cNvSpPr>
          <p:nvPr>
            <p:ph type="sldNum" sz="quarter" idx="10"/>
          </p:nvPr>
        </p:nvSpPr>
        <p:spPr>
          <a:ln>
            <a:noFill/>
          </a:ln>
        </p:spPr>
        <p:txBody>
          <a:bodyPr/>
          <a:lstStyle/>
          <a:p>
            <a:fld id="{6586D83B-F5E2-6149-B7DD-0F6F1BA75908}" type="slidenum">
              <a:rPr lang="en-US" smtClean="0"/>
              <a:pPr/>
              <a:t>‹nr.›</a:t>
            </a:fld>
            <a:endParaRPr lang="en-US" dirty="0"/>
          </a:p>
        </p:txBody>
      </p:sp>
      <p:sp>
        <p:nvSpPr>
          <p:cNvPr id="13" name="Rectangle 12">
            <a:extLst>
              <a:ext uri="{FF2B5EF4-FFF2-40B4-BE49-F238E27FC236}">
                <a16:creationId xmlns:a16="http://schemas.microsoft.com/office/drawing/2014/main" id="{C5B0A4A7-F590-4322-9152-8BC06E761F95}"/>
              </a:ext>
            </a:extLst>
          </p:cNvPr>
          <p:cNvSpPr/>
          <p:nvPr userDrawn="1"/>
        </p:nvSpPr>
        <p:spPr>
          <a:xfrm>
            <a:off x="1113183" y="1165693"/>
            <a:ext cx="1283176" cy="57039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Title 1">
            <a:extLst>
              <a:ext uri="{FF2B5EF4-FFF2-40B4-BE49-F238E27FC236}">
                <a16:creationId xmlns:a16="http://schemas.microsoft.com/office/drawing/2014/main" id="{84FF48AC-C352-4497-9321-A2289C31EADF}"/>
              </a:ext>
            </a:extLst>
          </p:cNvPr>
          <p:cNvSpPr>
            <a:spLocks noGrp="1"/>
          </p:cNvSpPr>
          <p:nvPr>
            <p:ph type="title"/>
          </p:nvPr>
        </p:nvSpPr>
        <p:spPr>
          <a:xfrm>
            <a:off x="1265583" y="1143000"/>
            <a:ext cx="10515600" cy="712788"/>
          </a:xfrm>
          <a:prstGeom prst="rect">
            <a:avLst/>
          </a:prstGeom>
          <a:solidFill>
            <a:schemeClr val="bg1"/>
          </a:solidFill>
        </p:spPr>
        <p:txBody>
          <a:bodyPr/>
          <a:lstStyle>
            <a:lvl1pPr>
              <a:defRPr b="1" i="0" cap="all" baseline="0">
                <a:latin typeface="Arial Narrow" panose="020B0606020202030204" pitchFamily="34" charset="0"/>
              </a:defRPr>
            </a:lvl1pPr>
          </a:lstStyle>
          <a:p>
            <a:r>
              <a:rPr lang="en-US"/>
              <a:t>Click to edit Master title style</a:t>
            </a:r>
            <a:endParaRPr lang="en-US" dirty="0"/>
          </a:p>
        </p:txBody>
      </p:sp>
      <p:sp>
        <p:nvSpPr>
          <p:cNvPr id="10" name="Content Placeholder 2">
            <a:extLst>
              <a:ext uri="{FF2B5EF4-FFF2-40B4-BE49-F238E27FC236}">
                <a16:creationId xmlns:a16="http://schemas.microsoft.com/office/drawing/2014/main" id="{8A3103BB-4180-43CD-8E03-F7119B58159F}"/>
              </a:ext>
            </a:extLst>
          </p:cNvPr>
          <p:cNvSpPr>
            <a:spLocks noGrp="1"/>
          </p:cNvSpPr>
          <p:nvPr>
            <p:ph sz="half" idx="11"/>
          </p:nvPr>
        </p:nvSpPr>
        <p:spPr>
          <a:xfrm>
            <a:off x="1265583" y="1990725"/>
            <a:ext cx="10515600" cy="4163346"/>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descr="Logo cheps4a">
            <a:extLst>
              <a:ext uri="{FF2B5EF4-FFF2-40B4-BE49-F238E27FC236}">
                <a16:creationId xmlns:a16="http://schemas.microsoft.com/office/drawing/2014/main" id="{DE153CA8-F33E-4042-B383-A2EC5BEAA0F7}"/>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r="42131" b="49164"/>
          <a:stretch>
            <a:fillRect/>
          </a:stretch>
        </p:blipFill>
        <p:spPr bwMode="auto">
          <a:xfrm>
            <a:off x="10318143" y="244761"/>
            <a:ext cx="146304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69489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3791B6CB-EA61-463B-9BE6-C973201B093E}" type="datetimeFigureOut">
              <a:rPr lang="nl-NL" smtClean="0"/>
              <a:t>30-6-2021</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32812812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4B99673-6FF4-7541-A582-49C16510D44E}"/>
              </a:ext>
            </a:extLst>
          </p:cNvPr>
          <p:cNvPicPr>
            <a:picLocks noChangeAspect="1"/>
          </p:cNvPicPr>
          <p:nvPr userDrawn="1"/>
        </p:nvPicPr>
        <p:blipFill>
          <a:blip r:embed="rId2"/>
          <a:stretch>
            <a:fillRect/>
          </a:stretch>
        </p:blipFill>
        <p:spPr>
          <a:xfrm rot="12943939">
            <a:off x="-3767933" y="816278"/>
            <a:ext cx="5006078" cy="6858000"/>
          </a:xfrm>
          <a:prstGeom prst="rect">
            <a:avLst/>
          </a:prstGeom>
        </p:spPr>
      </p:pic>
      <p:sp>
        <p:nvSpPr>
          <p:cNvPr id="8" name="Rectangle 7">
            <a:extLst>
              <a:ext uri="{FF2B5EF4-FFF2-40B4-BE49-F238E27FC236}">
                <a16:creationId xmlns:a16="http://schemas.microsoft.com/office/drawing/2014/main" id="{1F21FAFC-AD93-46D7-A206-D929F7599143}"/>
              </a:ext>
            </a:extLst>
          </p:cNvPr>
          <p:cNvSpPr/>
          <p:nvPr userDrawn="1"/>
        </p:nvSpPr>
        <p:spPr>
          <a:xfrm>
            <a:off x="840843" y="1093076"/>
            <a:ext cx="1030001" cy="54869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le 1">
            <a:extLst>
              <a:ext uri="{FF2B5EF4-FFF2-40B4-BE49-F238E27FC236}">
                <a16:creationId xmlns:a16="http://schemas.microsoft.com/office/drawing/2014/main" id="{18FD8E99-BA8A-8C41-BF0E-FD50151A9C7C}"/>
              </a:ext>
            </a:extLst>
          </p:cNvPr>
          <p:cNvSpPr>
            <a:spLocks noGrp="1"/>
          </p:cNvSpPr>
          <p:nvPr>
            <p:ph type="title"/>
          </p:nvPr>
        </p:nvSpPr>
        <p:spPr>
          <a:xfrm>
            <a:off x="1259614" y="1309496"/>
            <a:ext cx="10515600" cy="711994"/>
          </a:xfrm>
          <a:prstGeom prst="rect">
            <a:avLst/>
          </a:prstGeom>
        </p:spPr>
        <p:txBody>
          <a:bodyPr/>
          <a:lstStyle>
            <a:lvl1pPr>
              <a:defRPr b="1" i="0" cap="all" baseline="0">
                <a:latin typeface="Arial Narrow" panose="020B0606020202030204" pitchFamily="34" charset="0"/>
              </a:defRPr>
            </a:lvl1pPr>
          </a:lstStyle>
          <a:p>
            <a:r>
              <a:rPr lang="en-US"/>
              <a:t>Click to edit Master title style</a:t>
            </a:r>
            <a:endParaRPr lang="en-US" dirty="0"/>
          </a:p>
        </p:txBody>
      </p:sp>
      <p:sp>
        <p:nvSpPr>
          <p:cNvPr id="6" name="Slide Number Placeholder 5">
            <a:extLst>
              <a:ext uri="{FF2B5EF4-FFF2-40B4-BE49-F238E27FC236}">
                <a16:creationId xmlns:a16="http://schemas.microsoft.com/office/drawing/2014/main" id="{5D0894B0-2741-4345-B004-0B082D278FB8}"/>
              </a:ext>
            </a:extLst>
          </p:cNvPr>
          <p:cNvSpPr>
            <a:spLocks noGrp="1"/>
          </p:cNvSpPr>
          <p:nvPr>
            <p:ph type="sldNum" sz="quarter" idx="10"/>
          </p:nvPr>
        </p:nvSpPr>
        <p:spPr>
          <a:ln>
            <a:noFill/>
          </a:ln>
        </p:spPr>
        <p:txBody>
          <a:bodyPr/>
          <a:lstStyle/>
          <a:p>
            <a:fld id="{6586D83B-F5E2-6149-B7DD-0F6F1BA75908}" type="slidenum">
              <a:rPr lang="en-US" smtClean="0"/>
              <a:pPr/>
              <a:t>‹nr.›</a:t>
            </a:fld>
            <a:endParaRPr lang="en-US" dirty="0"/>
          </a:p>
        </p:txBody>
      </p:sp>
      <p:pic>
        <p:nvPicPr>
          <p:cNvPr id="7" name="Picture 4" descr="Logo cheps4a">
            <a:extLst>
              <a:ext uri="{FF2B5EF4-FFF2-40B4-BE49-F238E27FC236}">
                <a16:creationId xmlns:a16="http://schemas.microsoft.com/office/drawing/2014/main" id="{103ED235-99AE-49AB-83E8-545669029143}"/>
              </a:ext>
            </a:extLst>
          </p:cNvPr>
          <p:cNvPicPr preferRelativeResize="0">
            <a:picLocks noChangeAspect="1" noChangeArrowheads="1"/>
          </p:cNvPicPr>
          <p:nvPr userDrawn="1"/>
        </p:nvPicPr>
        <p:blipFill>
          <a:blip r:embed="rId3" cstate="print">
            <a:extLst>
              <a:ext uri="{28A0092B-C50C-407E-A947-70E740481C1C}">
                <a14:useLocalDpi xmlns:a14="http://schemas.microsoft.com/office/drawing/2010/main" val="0"/>
              </a:ext>
            </a:extLst>
          </a:blip>
          <a:srcRect r="42131" b="49164"/>
          <a:stretch>
            <a:fillRect/>
          </a:stretch>
        </p:blipFill>
        <p:spPr bwMode="auto">
          <a:xfrm>
            <a:off x="10318143" y="244761"/>
            <a:ext cx="1463040" cy="731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53411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endParaRPr lang="en-GB" dirty="0"/>
          </a:p>
        </p:txBody>
      </p:sp>
      <p:sp>
        <p:nvSpPr>
          <p:cNvPr id="3" name="Tijdelijke aanduiding voor voettekst 2"/>
          <p:cNvSpPr>
            <a:spLocks noGrp="1"/>
          </p:cNvSpPr>
          <p:nvPr>
            <p:ph type="ftr" sz="quarter" idx="11"/>
          </p:nvPr>
        </p:nvSpPr>
        <p:spPr/>
        <p:txBody>
          <a:bodyPr/>
          <a:lstStyle/>
          <a:p>
            <a:r>
              <a:rPr lang="en-GB"/>
              <a:t>AESIS CONFERENCE 23-25 June 2020 | Cape Town | Barend van der Meulen</a:t>
            </a:r>
            <a:endParaRPr lang="en-GB" dirty="0"/>
          </a:p>
        </p:txBody>
      </p:sp>
      <p:sp>
        <p:nvSpPr>
          <p:cNvPr id="4" name="Tijdelijke aanduiding voor dianummer 3"/>
          <p:cNvSpPr>
            <a:spLocks noGrp="1"/>
          </p:cNvSpPr>
          <p:nvPr>
            <p:ph type="sldNum" sz="quarter" idx="12"/>
          </p:nvPr>
        </p:nvSpPr>
        <p:spPr/>
        <p:txBody>
          <a:bodyPr/>
          <a:lstStyle/>
          <a:p>
            <a:fld id="{1D6CED28-0089-4989-861A-46FC4C4688ED}" type="slidenum">
              <a:rPr lang="en-GB" smtClean="0"/>
              <a:t>‹nr.›</a:t>
            </a:fld>
            <a:endParaRPr lang="en-GB" dirty="0"/>
          </a:p>
        </p:txBody>
      </p:sp>
    </p:spTree>
    <p:extLst>
      <p:ext uri="{BB962C8B-B14F-4D97-AF65-F5344CB8AC3E}">
        <p14:creationId xmlns:p14="http://schemas.microsoft.com/office/powerpoint/2010/main" val="33547298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69A70C1-0C50-AC40-A85B-06F456B448C2}" type="datetimeFigureOut">
              <a:rPr lang="en-US" smtClean="0"/>
              <a:t>6/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E540A0-A534-FF4B-99BD-603B90046D9C}" type="slidenum">
              <a:rPr lang="en-US" smtClean="0"/>
              <a:t>‹nr.›</a:t>
            </a:fld>
            <a:endParaRPr lang="en-US"/>
          </a:p>
        </p:txBody>
      </p:sp>
    </p:spTree>
    <p:extLst>
      <p:ext uri="{BB962C8B-B14F-4D97-AF65-F5344CB8AC3E}">
        <p14:creationId xmlns:p14="http://schemas.microsoft.com/office/powerpoint/2010/main" val="15637036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9A70C1-0C50-AC40-A85B-06F456B448C2}" type="datetimeFigureOut">
              <a:rPr lang="en-US" smtClean="0"/>
              <a:t>6/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E540A0-A534-FF4B-99BD-603B90046D9C}" type="slidenum">
              <a:rPr lang="en-US" smtClean="0"/>
              <a:t>‹nr.›</a:t>
            </a:fld>
            <a:endParaRPr lang="en-US"/>
          </a:p>
        </p:txBody>
      </p:sp>
    </p:spTree>
    <p:extLst>
      <p:ext uri="{BB962C8B-B14F-4D97-AF65-F5344CB8AC3E}">
        <p14:creationId xmlns:p14="http://schemas.microsoft.com/office/powerpoint/2010/main" val="11113198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69A70C1-0C50-AC40-A85B-06F456B448C2}" type="datetimeFigureOut">
              <a:rPr lang="en-US" smtClean="0"/>
              <a:t>6/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E540A0-A534-FF4B-99BD-603B90046D9C}" type="slidenum">
              <a:rPr lang="en-US" smtClean="0"/>
              <a:t>‹nr.›</a:t>
            </a:fld>
            <a:endParaRPr lang="en-US"/>
          </a:p>
        </p:txBody>
      </p:sp>
    </p:spTree>
    <p:extLst>
      <p:ext uri="{BB962C8B-B14F-4D97-AF65-F5344CB8AC3E}">
        <p14:creationId xmlns:p14="http://schemas.microsoft.com/office/powerpoint/2010/main" val="38077557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69A70C1-0C50-AC40-A85B-06F456B448C2}" type="datetimeFigureOut">
              <a:rPr lang="en-US" smtClean="0"/>
              <a:t>6/30/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0E540A0-A534-FF4B-99BD-603B90046D9C}" type="slidenum">
              <a:rPr lang="en-US" smtClean="0"/>
              <a:t>‹nr.›</a:t>
            </a:fld>
            <a:endParaRPr lang="en-US"/>
          </a:p>
        </p:txBody>
      </p:sp>
    </p:spTree>
    <p:extLst>
      <p:ext uri="{BB962C8B-B14F-4D97-AF65-F5344CB8AC3E}">
        <p14:creationId xmlns:p14="http://schemas.microsoft.com/office/powerpoint/2010/main" val="12519587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69A70C1-0C50-AC40-A85B-06F456B448C2}" type="datetimeFigureOut">
              <a:rPr lang="en-US" smtClean="0"/>
              <a:t>6/30/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0E540A0-A534-FF4B-99BD-603B90046D9C}" type="slidenum">
              <a:rPr lang="en-US" smtClean="0"/>
              <a:t>‹nr.›</a:t>
            </a:fld>
            <a:endParaRPr lang="en-US"/>
          </a:p>
        </p:txBody>
      </p:sp>
    </p:spTree>
    <p:extLst>
      <p:ext uri="{BB962C8B-B14F-4D97-AF65-F5344CB8AC3E}">
        <p14:creationId xmlns:p14="http://schemas.microsoft.com/office/powerpoint/2010/main" val="5673440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69A70C1-0C50-AC40-A85B-06F456B448C2}" type="datetimeFigureOut">
              <a:rPr lang="en-US" smtClean="0"/>
              <a:t>6/30/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0E540A0-A534-FF4B-99BD-603B90046D9C}" type="slidenum">
              <a:rPr lang="en-US" smtClean="0"/>
              <a:t>‹nr.›</a:t>
            </a:fld>
            <a:endParaRPr lang="en-US"/>
          </a:p>
        </p:txBody>
      </p:sp>
    </p:spTree>
    <p:extLst>
      <p:ext uri="{BB962C8B-B14F-4D97-AF65-F5344CB8AC3E}">
        <p14:creationId xmlns:p14="http://schemas.microsoft.com/office/powerpoint/2010/main" val="2097178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69A70C1-0C50-AC40-A85B-06F456B448C2}" type="datetimeFigureOut">
              <a:rPr lang="en-US" smtClean="0"/>
              <a:t>6/30/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A0E540A0-A534-FF4B-99BD-603B90046D9C}" type="slidenum">
              <a:rPr lang="en-US" smtClean="0"/>
              <a:t>‹nr.›</a:t>
            </a:fld>
            <a:endParaRPr lang="en-US" dirty="0"/>
          </a:p>
        </p:txBody>
      </p:sp>
    </p:spTree>
    <p:extLst>
      <p:ext uri="{BB962C8B-B14F-4D97-AF65-F5344CB8AC3E}">
        <p14:creationId xmlns:p14="http://schemas.microsoft.com/office/powerpoint/2010/main" val="32526608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69A70C1-0C50-AC40-A85B-06F456B448C2}" type="datetimeFigureOut">
              <a:rPr lang="en-US" smtClean="0"/>
              <a:t>6/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E540A0-A534-FF4B-99BD-603B90046D9C}" type="slidenum">
              <a:rPr lang="en-US" smtClean="0"/>
              <a:t>‹nr.›</a:t>
            </a:fld>
            <a:endParaRPr lang="en-US" dirty="0"/>
          </a:p>
        </p:txBody>
      </p:sp>
    </p:spTree>
    <p:extLst>
      <p:ext uri="{BB962C8B-B14F-4D97-AF65-F5344CB8AC3E}">
        <p14:creationId xmlns:p14="http://schemas.microsoft.com/office/powerpoint/2010/main" val="23906398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3791B6CB-EA61-463B-9BE6-C973201B093E}" type="datetimeFigureOut">
              <a:rPr lang="nl-NL" smtClean="0"/>
              <a:t>30-6-2021</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8952922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69A70C1-0C50-AC40-A85B-06F456B448C2}" type="datetimeFigureOut">
              <a:rPr lang="en-US" smtClean="0"/>
              <a:t>6/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A0E540A0-A534-FF4B-99BD-603B90046D9C}" type="slidenum">
              <a:rPr lang="en-US" smtClean="0"/>
              <a:t>‹nr.›</a:t>
            </a:fld>
            <a:endParaRPr lang="en-US" dirty="0"/>
          </a:p>
        </p:txBody>
      </p:sp>
    </p:spTree>
    <p:extLst>
      <p:ext uri="{BB962C8B-B14F-4D97-AF65-F5344CB8AC3E}">
        <p14:creationId xmlns:p14="http://schemas.microsoft.com/office/powerpoint/2010/main" val="3951262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9A70C1-0C50-AC40-A85B-06F456B448C2}" type="datetimeFigureOut">
              <a:rPr lang="en-US" smtClean="0"/>
              <a:t>6/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E540A0-A534-FF4B-99BD-603B90046D9C}" type="slidenum">
              <a:rPr lang="en-US" smtClean="0"/>
              <a:t>‹nr.›</a:t>
            </a:fld>
            <a:endParaRPr lang="en-US" dirty="0"/>
          </a:p>
        </p:txBody>
      </p:sp>
    </p:spTree>
    <p:extLst>
      <p:ext uri="{BB962C8B-B14F-4D97-AF65-F5344CB8AC3E}">
        <p14:creationId xmlns:p14="http://schemas.microsoft.com/office/powerpoint/2010/main" val="41053185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69A70C1-0C50-AC40-A85B-06F456B448C2}" type="datetimeFigureOut">
              <a:rPr lang="en-US" smtClean="0"/>
              <a:t>6/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A0E540A0-A534-FF4B-99BD-603B90046D9C}" type="slidenum">
              <a:rPr lang="en-US" smtClean="0"/>
              <a:t>‹nr.›</a:t>
            </a:fld>
            <a:endParaRPr lang="en-US" dirty="0"/>
          </a:p>
        </p:txBody>
      </p:sp>
    </p:spTree>
    <p:extLst>
      <p:ext uri="{BB962C8B-B14F-4D97-AF65-F5344CB8AC3E}">
        <p14:creationId xmlns:p14="http://schemas.microsoft.com/office/powerpoint/2010/main" val="41636658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_Style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0498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0" y="200177"/>
            <a:ext cx="12192000" cy="775778"/>
          </a:xfrm>
          <a:prstGeom prst="rect">
            <a:avLst/>
          </a:prstGeom>
        </p:spPr>
        <p:txBody>
          <a:bodyPr vert="horz" lIns="91440" tIns="45720" rIns="91440" bIns="45720" rtlCol="0" anchor="ctr">
            <a:normAutofit/>
          </a:bodyPr>
          <a:lstStyle>
            <a:lvl1pPr algn="ctr">
              <a:defRPr sz="3600" b="1">
                <a:solidFill>
                  <a:schemeClr val="tx1">
                    <a:lumMod val="65000"/>
                    <a:lumOff val="35000"/>
                  </a:schemeClr>
                </a:solidFill>
              </a:defRPr>
            </a:lvl1pPr>
          </a:lstStyle>
          <a:p>
            <a:r>
              <a:rPr lang="en-US"/>
              <a:t>Click to edit Master title style</a:t>
            </a:r>
            <a:endParaRPr lang="en-US" dirty="0"/>
          </a:p>
        </p:txBody>
      </p:sp>
      <p:sp>
        <p:nvSpPr>
          <p:cNvPr id="10" name="텍스트 개체 틀 2">
            <a:extLst>
              <a:ext uri="{FF2B5EF4-FFF2-40B4-BE49-F238E27FC236}">
                <a16:creationId xmlns:a16="http://schemas.microsoft.com/office/drawing/2014/main" id="{BEA53C6E-B822-48C1-AE43-123E9E431F64}"/>
              </a:ext>
            </a:extLst>
          </p:cNvPr>
          <p:cNvSpPr>
            <a:spLocks noGrp="1"/>
          </p:cNvSpPr>
          <p:nvPr>
            <p:ph type="body" sz="quarter" idx="41" hasCustomPrompt="1"/>
          </p:nvPr>
        </p:nvSpPr>
        <p:spPr>
          <a:xfrm>
            <a:off x="0" y="1005383"/>
            <a:ext cx="12192000" cy="419379"/>
          </a:xfrm>
          <a:prstGeom prst="rect">
            <a:avLst/>
          </a:prstGeom>
        </p:spPr>
        <p:txBody>
          <a:bodyPr anchor="ctr"/>
          <a:lstStyle>
            <a:lvl1pPr marL="0" marR="0" indent="0" algn="ctr" defTabSz="685800" rtl="0" eaLnBrk="1" fontAlgn="auto" latinLnBrk="1" hangingPunct="1">
              <a:lnSpc>
                <a:spcPct val="90000"/>
              </a:lnSpc>
              <a:spcBef>
                <a:spcPts val="750"/>
              </a:spcBef>
              <a:spcAft>
                <a:spcPts val="0"/>
              </a:spcAft>
              <a:buClrTx/>
              <a:buSzTx/>
              <a:buFontTx/>
              <a:buNone/>
              <a:tabLst/>
              <a:defRPr sz="1800" b="0">
                <a:solidFill>
                  <a:schemeClr val="tx1">
                    <a:lumMod val="65000"/>
                    <a:lumOff val="35000"/>
                  </a:schemeClr>
                </a:solidFill>
              </a:defRPr>
            </a:lvl1pPr>
          </a:lstStyle>
          <a:p>
            <a:pPr marL="0" marR="0" lvl="0" indent="0" algn="ctr" defTabSz="685800" rtl="0" eaLnBrk="1" fontAlgn="auto" latinLnBrk="1" hangingPunct="1">
              <a:lnSpc>
                <a:spcPct val="90000"/>
              </a:lnSpc>
              <a:spcBef>
                <a:spcPts val="750"/>
              </a:spcBef>
              <a:spcAft>
                <a:spcPts val="0"/>
              </a:spcAft>
              <a:buClrTx/>
              <a:buSzTx/>
              <a:buFontTx/>
              <a:buNone/>
              <a:tabLst/>
              <a:defRPr/>
            </a:pPr>
            <a:r>
              <a:rPr lang="en-US" altLang="ko-KR" dirty="0"/>
              <a:t>Subtitle in this line</a:t>
            </a:r>
            <a:endParaRPr lang="ko-KR" altLang="en-US" dirty="0"/>
          </a:p>
        </p:txBody>
      </p:sp>
    </p:spTree>
    <p:extLst>
      <p:ext uri="{BB962C8B-B14F-4D97-AF65-F5344CB8AC3E}">
        <p14:creationId xmlns:p14="http://schemas.microsoft.com/office/powerpoint/2010/main" val="20707252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30/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8785933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bg1"/>
                </a:solidFill>
                <a:latin typeface="Verdana"/>
                <a:cs typeface="Verdana"/>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30/2021</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812682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bg1"/>
                </a:solidFill>
                <a:latin typeface="Verdana"/>
                <a:cs typeface="Verdana"/>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30/2021</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8710578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a:solidFill>
                  <a:schemeClr val="bg1"/>
                </a:solidFill>
                <a:latin typeface="Verdana"/>
                <a:cs typeface="Verdana"/>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30/2021</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48341601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30/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3079277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p>
        </p:txBody>
      </p:sp>
      <p:sp>
        <p:nvSpPr>
          <p:cNvPr id="3" name="Tijdelijke aanduiding voor datum 2"/>
          <p:cNvSpPr>
            <a:spLocks noGrp="1"/>
          </p:cNvSpPr>
          <p:nvPr>
            <p:ph type="dt" sz="half" idx="10"/>
          </p:nvPr>
        </p:nvSpPr>
        <p:spPr/>
        <p:txBody>
          <a:bodyPr/>
          <a:lstStyle/>
          <a:p>
            <a:fld id="{3791B6CB-EA61-463B-9BE6-C973201B093E}" type="datetimeFigureOut">
              <a:rPr lang="nl-NL" smtClean="0"/>
              <a:t>30-6-2021</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27291719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3791B6CB-EA61-463B-9BE6-C973201B093E}" type="datetimeFigureOut">
              <a:rPr lang="nl-NL" smtClean="0"/>
              <a:t>30-6-2021</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27020507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3791B6CB-EA61-463B-9BE6-C973201B093E}" type="datetimeFigureOut">
              <a:rPr lang="nl-NL" smtClean="0"/>
              <a:t>30-6-2021</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39212586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a:t>Klik op het pictogram als u een afbeelding wilt toevoegen</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3791B6CB-EA61-463B-9BE6-C973201B093E}" type="datetimeFigureOut">
              <a:rPr lang="nl-NL" smtClean="0"/>
              <a:t>30-6-2021</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222A41A9-402C-4B38-AED4-AF722CC509D0}" type="slidenum">
              <a:rPr lang="nl-NL" smtClean="0"/>
              <a:t>‹nr.›</a:t>
            </a:fld>
            <a:endParaRPr lang="nl-NL"/>
          </a:p>
        </p:txBody>
      </p:sp>
    </p:spTree>
    <p:extLst>
      <p:ext uri="{BB962C8B-B14F-4D97-AF65-F5344CB8AC3E}">
        <p14:creationId xmlns:p14="http://schemas.microsoft.com/office/powerpoint/2010/main" val="12435156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1.emf"/><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image" Target="../media/image2.png"/><Relationship Id="rId5" Type="http://schemas.openxmlformats.org/officeDocument/2006/relationships/slideLayout" Target="../slideLayouts/slideLayout37.xml"/><Relationship Id="rId10" Type="http://schemas.openxmlformats.org/officeDocument/2006/relationships/theme" Target="../theme/theme3.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image" Target="../media/image6.png"/><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57.xml"/><Relationship Id="rId7" Type="http://schemas.openxmlformats.org/officeDocument/2006/relationships/image" Target="../media/image8.png"/><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5.xml"/><Relationship Id="rId5" Type="http://schemas.openxmlformats.org/officeDocument/2006/relationships/slideLayout" Target="../slideLayouts/slideLayout59.xml"/><Relationship Id="rId10" Type="http://schemas.openxmlformats.org/officeDocument/2006/relationships/image" Target="../media/image11.png"/><Relationship Id="rId4" Type="http://schemas.openxmlformats.org/officeDocument/2006/relationships/slideLayout" Target="../slideLayouts/slideLayout58.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791B6CB-EA61-463B-9BE6-C973201B093E}" type="datetimeFigureOut">
              <a:rPr lang="nl-NL" smtClean="0"/>
              <a:t>30-6-2021</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2A41A9-402C-4B38-AED4-AF722CC509D0}" type="slidenum">
              <a:rPr lang="nl-NL" smtClean="0"/>
              <a:t>‹nr.›</a:t>
            </a:fld>
            <a:endParaRPr lang="nl-NL"/>
          </a:p>
        </p:txBody>
      </p:sp>
    </p:spTree>
    <p:extLst>
      <p:ext uri="{BB962C8B-B14F-4D97-AF65-F5344CB8AC3E}">
        <p14:creationId xmlns:p14="http://schemas.microsoft.com/office/powerpoint/2010/main" val="26720521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964860" y="365798"/>
            <a:ext cx="10806076" cy="1324939"/>
          </a:xfrm>
          <a:prstGeom prst="rect">
            <a:avLst/>
          </a:prstGeom>
        </p:spPr>
        <p:txBody>
          <a:bodyPr vert="horz" lIns="91440" tIns="45720" rIns="91440" bIns="45720" rtlCol="0" anchor="t" anchorCtr="0">
            <a:noAutofit/>
          </a:bodyPr>
          <a:lstStyle/>
          <a:p>
            <a:r>
              <a:rPr lang="de-DE" dirty="0"/>
              <a:t>Mastertitelformat bearbeiten</a:t>
            </a:r>
          </a:p>
        </p:txBody>
      </p:sp>
      <p:sp>
        <p:nvSpPr>
          <p:cNvPr id="3" name="Textplatzhalter 2"/>
          <p:cNvSpPr>
            <a:spLocks noGrp="1"/>
          </p:cNvSpPr>
          <p:nvPr>
            <p:ph type="body" idx="1"/>
          </p:nvPr>
        </p:nvSpPr>
        <p:spPr>
          <a:xfrm>
            <a:off x="964860" y="1835128"/>
            <a:ext cx="10806076" cy="4350697"/>
          </a:xfrm>
          <a:prstGeom prst="rect">
            <a:avLst/>
          </a:prstGeom>
        </p:spPr>
        <p:txBody>
          <a:bodyPr vert="horz" lIns="91440" tIns="45720" rIns="91440" bIns="4572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8" name="Grafik 7">
            <a:extLst>
              <a:ext uri="{FF2B5EF4-FFF2-40B4-BE49-F238E27FC236}">
                <a16:creationId xmlns:a16="http://schemas.microsoft.com/office/drawing/2014/main" id="{563A4831-1743-C645-A31F-7E0ADAD744B0}"/>
              </a:ext>
            </a:extLst>
          </p:cNvPr>
          <p:cNvPicPr>
            <a:picLocks noChangeAspect="1"/>
          </p:cNvPicPr>
          <p:nvPr userDrawn="1"/>
        </p:nvPicPr>
        <p:blipFill>
          <a:blip r:embed="rId23"/>
          <a:stretch>
            <a:fillRect/>
          </a:stretch>
        </p:blipFill>
        <p:spPr>
          <a:xfrm>
            <a:off x="290983" y="6129721"/>
            <a:ext cx="2746512" cy="659703"/>
          </a:xfrm>
          <a:prstGeom prst="rect">
            <a:avLst/>
          </a:prstGeom>
        </p:spPr>
      </p:pic>
    </p:spTree>
    <p:extLst>
      <p:ext uri="{BB962C8B-B14F-4D97-AF65-F5344CB8AC3E}">
        <p14:creationId xmlns:p14="http://schemas.microsoft.com/office/powerpoint/2010/main" val="39193468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sldNum="0" hdr="0" dt="0"/>
  <p:txStyles>
    <p:titleStyle>
      <a:lvl1pPr algn="l" defTabSz="1042737" rtl="0" eaLnBrk="1" latinLnBrk="0" hangingPunct="1">
        <a:lnSpc>
          <a:spcPct val="90000"/>
        </a:lnSpc>
        <a:spcBef>
          <a:spcPct val="0"/>
        </a:spcBef>
        <a:buNone/>
        <a:defRPr sz="5018" b="1" i="0" kern="1200">
          <a:solidFill>
            <a:srgbClr val="DD565D"/>
          </a:solidFill>
          <a:latin typeface="Avenir Next Condensed" charset="0"/>
          <a:ea typeface="Avenir Next Condensed" charset="0"/>
          <a:cs typeface="Avenir Next Condensed" charset="0"/>
        </a:defRPr>
      </a:lvl1pPr>
    </p:titleStyle>
    <p:bodyStyle>
      <a:lvl1pPr marL="206375" indent="-206375" algn="l" defTabSz="1042737" rtl="0" eaLnBrk="1" latinLnBrk="0" hangingPunct="1">
        <a:lnSpc>
          <a:spcPts val="2851"/>
        </a:lnSpc>
        <a:spcBef>
          <a:spcPts val="1140"/>
        </a:spcBef>
        <a:buFont typeface="Arial"/>
        <a:buChar char="•"/>
        <a:tabLst/>
        <a:defRPr sz="2281" b="0" i="0" kern="1200">
          <a:solidFill>
            <a:srgbClr val="5B6468"/>
          </a:solidFill>
          <a:latin typeface="Avenir Next Condensed" charset="0"/>
          <a:ea typeface="Avenir Next Condensed" charset="0"/>
          <a:cs typeface="Avenir Next Condensed" charset="0"/>
        </a:defRPr>
      </a:lvl1pPr>
      <a:lvl2pPr marL="506886" indent="-253443" algn="l" defTabSz="1042737" rtl="0" eaLnBrk="1" latinLnBrk="0" hangingPunct="1">
        <a:lnSpc>
          <a:spcPts val="2851"/>
        </a:lnSpc>
        <a:spcBef>
          <a:spcPts val="571"/>
        </a:spcBef>
        <a:buFont typeface="Symbol" charset="2"/>
        <a:buChar char="-"/>
        <a:tabLst/>
        <a:defRPr sz="2281" b="0" i="0" kern="1200">
          <a:solidFill>
            <a:srgbClr val="5B6468"/>
          </a:solidFill>
          <a:latin typeface="Avenir Next Condensed" charset="0"/>
          <a:ea typeface="Avenir Next Condensed" charset="0"/>
          <a:cs typeface="Avenir Next Condensed" charset="0"/>
        </a:defRPr>
      </a:lvl2pPr>
      <a:lvl3pPr marL="762140" indent="-255253" algn="l" defTabSz="1042737" rtl="0" eaLnBrk="1" latinLnBrk="0" hangingPunct="1">
        <a:lnSpc>
          <a:spcPts val="2851"/>
        </a:lnSpc>
        <a:spcBef>
          <a:spcPts val="571"/>
        </a:spcBef>
        <a:buFont typeface="CharisSIL" charset="0"/>
        <a:buChar char="‣"/>
        <a:tabLst/>
        <a:defRPr sz="2281" b="0" i="0" kern="1200">
          <a:solidFill>
            <a:srgbClr val="5B6468"/>
          </a:solidFill>
          <a:latin typeface="Avenir Next Condensed" charset="0"/>
          <a:ea typeface="Avenir Next Condensed" charset="0"/>
          <a:cs typeface="Avenir Next Condensed" charset="0"/>
        </a:defRPr>
      </a:lvl3pPr>
      <a:lvl4pPr marL="1015582" indent="-253443" algn="l" defTabSz="1042737" rtl="0" eaLnBrk="1" latinLnBrk="0" hangingPunct="1">
        <a:lnSpc>
          <a:spcPts val="2851"/>
        </a:lnSpc>
        <a:spcBef>
          <a:spcPts val="571"/>
        </a:spcBef>
        <a:buFont typeface="LucidaGrande" charset="0"/>
        <a:buChar char="▹"/>
        <a:tabLst/>
        <a:defRPr sz="2281" b="0" i="0" kern="1200">
          <a:solidFill>
            <a:srgbClr val="5B6468"/>
          </a:solidFill>
          <a:latin typeface="Avenir Next Condensed" charset="0"/>
          <a:ea typeface="Avenir Next Condensed" charset="0"/>
          <a:cs typeface="Avenir Next Condensed" charset="0"/>
        </a:defRPr>
      </a:lvl4pPr>
      <a:lvl5pPr marL="1323334" indent="-307752" algn="l" defTabSz="1042737" rtl="0" eaLnBrk="1" latinLnBrk="0" hangingPunct="1">
        <a:lnSpc>
          <a:spcPts val="2851"/>
        </a:lnSpc>
        <a:spcBef>
          <a:spcPts val="571"/>
        </a:spcBef>
        <a:buFont typeface="Menlo-Regular" charset="0"/>
        <a:buChar char="➝"/>
        <a:tabLst/>
        <a:defRPr sz="2281" b="0" i="0" kern="1200">
          <a:solidFill>
            <a:srgbClr val="5B6468"/>
          </a:solidFill>
          <a:latin typeface="Avenir Next Condensed" charset="0"/>
          <a:ea typeface="Avenir Next Condensed" charset="0"/>
          <a:cs typeface="Avenir Next Condensed" charset="0"/>
        </a:defRPr>
      </a:lvl5pPr>
      <a:lvl6pPr marL="2867525" indent="-260684" algn="l" defTabSz="1042737" rtl="0" eaLnBrk="1" latinLnBrk="0" hangingPunct="1">
        <a:lnSpc>
          <a:spcPct val="90000"/>
        </a:lnSpc>
        <a:spcBef>
          <a:spcPts val="571"/>
        </a:spcBef>
        <a:buFont typeface="Arial"/>
        <a:buChar char="•"/>
        <a:defRPr sz="2053" kern="1200">
          <a:solidFill>
            <a:schemeClr val="tx1"/>
          </a:solidFill>
          <a:latin typeface="+mn-lt"/>
          <a:ea typeface="+mn-ea"/>
          <a:cs typeface="+mn-cs"/>
        </a:defRPr>
      </a:lvl6pPr>
      <a:lvl7pPr marL="3388894" indent="-260684" algn="l" defTabSz="1042737" rtl="0" eaLnBrk="1" latinLnBrk="0" hangingPunct="1">
        <a:lnSpc>
          <a:spcPct val="90000"/>
        </a:lnSpc>
        <a:spcBef>
          <a:spcPts val="571"/>
        </a:spcBef>
        <a:buFont typeface="Arial"/>
        <a:buChar char="•"/>
        <a:defRPr sz="2053" kern="1200">
          <a:solidFill>
            <a:schemeClr val="tx1"/>
          </a:solidFill>
          <a:latin typeface="+mn-lt"/>
          <a:ea typeface="+mn-ea"/>
          <a:cs typeface="+mn-cs"/>
        </a:defRPr>
      </a:lvl7pPr>
      <a:lvl8pPr marL="3910262" indent="-260684" algn="l" defTabSz="1042737" rtl="0" eaLnBrk="1" latinLnBrk="0" hangingPunct="1">
        <a:lnSpc>
          <a:spcPct val="90000"/>
        </a:lnSpc>
        <a:spcBef>
          <a:spcPts val="571"/>
        </a:spcBef>
        <a:buFont typeface="Arial"/>
        <a:buChar char="•"/>
        <a:defRPr sz="2053" kern="1200">
          <a:solidFill>
            <a:schemeClr val="tx1"/>
          </a:solidFill>
          <a:latin typeface="+mn-lt"/>
          <a:ea typeface="+mn-ea"/>
          <a:cs typeface="+mn-cs"/>
        </a:defRPr>
      </a:lvl8pPr>
      <a:lvl9pPr marL="4431629" indent="-260684" algn="l" defTabSz="1042737" rtl="0" eaLnBrk="1" latinLnBrk="0" hangingPunct="1">
        <a:lnSpc>
          <a:spcPct val="90000"/>
        </a:lnSpc>
        <a:spcBef>
          <a:spcPts val="571"/>
        </a:spcBef>
        <a:buFont typeface="Arial"/>
        <a:buChar char="•"/>
        <a:defRPr sz="2053" kern="1200">
          <a:solidFill>
            <a:schemeClr val="tx1"/>
          </a:solidFill>
          <a:latin typeface="+mn-lt"/>
          <a:ea typeface="+mn-ea"/>
          <a:cs typeface="+mn-cs"/>
        </a:defRPr>
      </a:lvl9pPr>
    </p:bodyStyle>
    <p:otherStyle>
      <a:defPPr>
        <a:defRPr lang="de-DE"/>
      </a:defPPr>
      <a:lvl1pPr marL="0" algn="l" defTabSz="1042737" rtl="0" eaLnBrk="1" latinLnBrk="0" hangingPunct="1">
        <a:defRPr sz="2053" kern="1200">
          <a:solidFill>
            <a:schemeClr val="tx1"/>
          </a:solidFill>
          <a:latin typeface="+mn-lt"/>
          <a:ea typeface="+mn-ea"/>
          <a:cs typeface="+mn-cs"/>
        </a:defRPr>
      </a:lvl1pPr>
      <a:lvl2pPr marL="521368" algn="l" defTabSz="1042737" rtl="0" eaLnBrk="1" latinLnBrk="0" hangingPunct="1">
        <a:defRPr sz="2053" kern="1200">
          <a:solidFill>
            <a:schemeClr val="tx1"/>
          </a:solidFill>
          <a:latin typeface="+mn-lt"/>
          <a:ea typeface="+mn-ea"/>
          <a:cs typeface="+mn-cs"/>
        </a:defRPr>
      </a:lvl2pPr>
      <a:lvl3pPr marL="1042737" algn="l" defTabSz="1042737" rtl="0" eaLnBrk="1" latinLnBrk="0" hangingPunct="1">
        <a:defRPr sz="2053" kern="1200">
          <a:solidFill>
            <a:schemeClr val="tx1"/>
          </a:solidFill>
          <a:latin typeface="+mn-lt"/>
          <a:ea typeface="+mn-ea"/>
          <a:cs typeface="+mn-cs"/>
        </a:defRPr>
      </a:lvl3pPr>
      <a:lvl4pPr marL="1564104" algn="l" defTabSz="1042737" rtl="0" eaLnBrk="1" latinLnBrk="0" hangingPunct="1">
        <a:defRPr sz="2053" kern="1200">
          <a:solidFill>
            <a:schemeClr val="tx1"/>
          </a:solidFill>
          <a:latin typeface="+mn-lt"/>
          <a:ea typeface="+mn-ea"/>
          <a:cs typeface="+mn-cs"/>
        </a:defRPr>
      </a:lvl4pPr>
      <a:lvl5pPr marL="2085473" algn="l" defTabSz="1042737" rtl="0" eaLnBrk="1" latinLnBrk="0" hangingPunct="1">
        <a:defRPr sz="2053" kern="1200">
          <a:solidFill>
            <a:schemeClr val="tx1"/>
          </a:solidFill>
          <a:latin typeface="+mn-lt"/>
          <a:ea typeface="+mn-ea"/>
          <a:cs typeface="+mn-cs"/>
        </a:defRPr>
      </a:lvl5pPr>
      <a:lvl6pPr marL="2606841" algn="l" defTabSz="1042737" rtl="0" eaLnBrk="1" latinLnBrk="0" hangingPunct="1">
        <a:defRPr sz="2053" kern="1200">
          <a:solidFill>
            <a:schemeClr val="tx1"/>
          </a:solidFill>
          <a:latin typeface="+mn-lt"/>
          <a:ea typeface="+mn-ea"/>
          <a:cs typeface="+mn-cs"/>
        </a:defRPr>
      </a:lvl6pPr>
      <a:lvl7pPr marL="3128209" algn="l" defTabSz="1042737" rtl="0" eaLnBrk="1" latinLnBrk="0" hangingPunct="1">
        <a:defRPr sz="2053" kern="1200">
          <a:solidFill>
            <a:schemeClr val="tx1"/>
          </a:solidFill>
          <a:latin typeface="+mn-lt"/>
          <a:ea typeface="+mn-ea"/>
          <a:cs typeface="+mn-cs"/>
        </a:defRPr>
      </a:lvl7pPr>
      <a:lvl8pPr marL="3649578" algn="l" defTabSz="1042737" rtl="0" eaLnBrk="1" latinLnBrk="0" hangingPunct="1">
        <a:defRPr sz="2053" kern="1200">
          <a:solidFill>
            <a:schemeClr val="tx1"/>
          </a:solidFill>
          <a:latin typeface="+mn-lt"/>
          <a:ea typeface="+mn-ea"/>
          <a:cs typeface="+mn-cs"/>
        </a:defRPr>
      </a:lvl8pPr>
      <a:lvl9pPr marL="4170945" algn="l" defTabSz="1042737" rtl="0" eaLnBrk="1" latinLnBrk="0" hangingPunct="1">
        <a:defRPr sz="205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604">
          <p15:clr>
            <a:srgbClr val="F26B43"/>
          </p15:clr>
        </p15:guide>
        <p15:guide id="2" pos="670">
          <p15:clr>
            <a:srgbClr val="F26B43"/>
          </p15:clr>
        </p15:guide>
        <p15:guide id="3" pos="755">
          <p15:clr>
            <a:srgbClr val="F26B43"/>
          </p15:clr>
        </p15:guide>
        <p15:guide id="4" orient="horz" pos="1428">
          <p15:clr>
            <a:srgbClr val="F26B43"/>
          </p15:clr>
        </p15:guide>
        <p15:guide id="5" orient="horz" pos="1814">
          <p15:clr>
            <a:srgbClr val="F26B43"/>
          </p15:clr>
        </p15:guide>
        <p15:guide id="6" pos="4147">
          <p15:clr>
            <a:srgbClr val="F26B43"/>
          </p15:clr>
        </p15:guide>
        <p15:guide id="7" pos="4290">
          <p15:clr>
            <a:srgbClr val="F26B43"/>
          </p15:clr>
        </p15:guide>
        <p15:guide id="8" pos="8110">
          <p15:clr>
            <a:srgbClr val="F26B43"/>
          </p15:clr>
        </p15:guide>
        <p15:guide id="9" orient="horz" pos="52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218661" y="6356350"/>
            <a:ext cx="2365513" cy="365125"/>
          </a:xfrm>
          <a:prstGeom prst="rect">
            <a:avLst/>
          </a:prstGeom>
        </p:spPr>
        <p:txBody>
          <a:bodyPr vert="horz" lIns="91440" tIns="45720" rIns="91440" bIns="45720" rtlCol="0" anchor="ctr"/>
          <a:lstStyle>
            <a:lvl1pPr algn="l">
              <a:defRPr sz="1200" cap="all" baseline="0">
                <a:solidFill>
                  <a:schemeClr val="tx1">
                    <a:tint val="75000"/>
                  </a:schemeClr>
                </a:solidFill>
                <a:latin typeface="Arial" panose="020B0604020202020204" pitchFamily="34" charset="0"/>
              </a:defRPr>
            </a:lvl1pPr>
          </a:lstStyle>
          <a:p>
            <a:endParaRPr lang="en-US" dirty="0"/>
          </a:p>
        </p:txBody>
      </p:sp>
      <p:sp>
        <p:nvSpPr>
          <p:cNvPr id="5" name="Footer Placeholder 4"/>
          <p:cNvSpPr>
            <a:spLocks noGrp="1"/>
          </p:cNvSpPr>
          <p:nvPr>
            <p:ph type="ftr" sz="quarter" idx="3"/>
          </p:nvPr>
        </p:nvSpPr>
        <p:spPr>
          <a:xfrm>
            <a:off x="4015409" y="6356350"/>
            <a:ext cx="6370982" cy="365125"/>
          </a:xfrm>
          <a:prstGeom prst="rect">
            <a:avLst/>
          </a:prstGeom>
        </p:spPr>
        <p:txBody>
          <a:bodyPr vert="horz" lIns="91440" tIns="45720" rIns="91440" bIns="45720" rtlCol="0" anchor="ctr"/>
          <a:lstStyle>
            <a:lvl1pPr algn="l">
              <a:defRPr sz="1200" cap="all" baseline="0">
                <a:solidFill>
                  <a:schemeClr val="tx1">
                    <a:tint val="75000"/>
                  </a:schemeClr>
                </a:solidFill>
                <a:latin typeface="Arial" panose="020B0604020202020204" pitchFamily="34" charset="0"/>
              </a:defRPr>
            </a:lvl1pPr>
          </a:lstStyle>
          <a:p>
            <a:r>
              <a:rPr lang="en-US"/>
              <a:t>AESIS CONFERENCE 23-25 June 2020 | Cape Town | Barend van der Meulen</a:t>
            </a:r>
            <a:endParaRPr lang="en-US" dirty="0"/>
          </a:p>
        </p:txBody>
      </p:sp>
      <p:sp>
        <p:nvSpPr>
          <p:cNvPr id="6" name="Slide Number Placeholder 5"/>
          <p:cNvSpPr>
            <a:spLocks noGrp="1"/>
          </p:cNvSpPr>
          <p:nvPr>
            <p:ph type="sldNum" sz="quarter" idx="4"/>
          </p:nvPr>
        </p:nvSpPr>
        <p:spPr>
          <a:xfrm>
            <a:off x="11082130" y="6356350"/>
            <a:ext cx="8448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D79D20-9926-6947-91A9-E826DAB4C488}" type="slidenum">
              <a:rPr lang="en-US" smtClean="0"/>
              <a:t>‹nr.›</a:t>
            </a:fld>
            <a:endParaRPr lang="en-US"/>
          </a:p>
        </p:txBody>
      </p:sp>
      <p:pic>
        <p:nvPicPr>
          <p:cNvPr id="8" name="Picture 7">
            <a:extLst>
              <a:ext uri="{FF2B5EF4-FFF2-40B4-BE49-F238E27FC236}">
                <a16:creationId xmlns:a16="http://schemas.microsoft.com/office/drawing/2014/main" id="{C2310C1B-65DB-2343-8AA3-FE42BB8807D3}"/>
              </a:ext>
            </a:extLst>
          </p:cNvPr>
          <p:cNvPicPr>
            <a:picLocks noChangeAspect="1"/>
          </p:cNvPicPr>
          <p:nvPr userDrawn="1"/>
        </p:nvPicPr>
        <p:blipFill>
          <a:blip r:embed="rId11"/>
          <a:stretch>
            <a:fillRect/>
          </a:stretch>
        </p:blipFill>
        <p:spPr>
          <a:xfrm>
            <a:off x="218661" y="136525"/>
            <a:ext cx="1696403" cy="846238"/>
          </a:xfrm>
          <a:prstGeom prst="rect">
            <a:avLst/>
          </a:prstGeom>
        </p:spPr>
      </p:pic>
    </p:spTree>
    <p:extLst>
      <p:ext uri="{BB962C8B-B14F-4D97-AF65-F5344CB8AC3E}">
        <p14:creationId xmlns:p14="http://schemas.microsoft.com/office/powerpoint/2010/main" val="1146431291"/>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Lst>
  <p:hf sldNum="0" hdr="0" dt="0"/>
  <p:txStyles>
    <p:titleStyle>
      <a:lvl1pPr algn="l" defTabSz="914400" rtl="0" eaLnBrk="1" latinLnBrk="0" hangingPunct="1">
        <a:lnSpc>
          <a:spcPct val="90000"/>
        </a:lnSpc>
        <a:spcBef>
          <a:spcPct val="0"/>
        </a:spcBef>
        <a:buNone/>
        <a:defRPr sz="3600" b="1" i="0" kern="1200" cap="all" baseline="0">
          <a:solidFill>
            <a:schemeClr val="tx1"/>
          </a:solidFill>
          <a:latin typeface="Arial Narrow" panose="020B060602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69A70C1-0C50-AC40-A85B-06F456B448C2}" type="datetimeFigureOut">
              <a:rPr lang="en-US" smtClean="0"/>
              <a:t>6/30/2021</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0E540A0-A534-FF4B-99BD-603B90046D9C}" type="slidenum">
              <a:rPr lang="en-US" smtClean="0"/>
              <a:t>‹nr.›</a:t>
            </a:fld>
            <a:endParaRPr lang="en-US"/>
          </a:p>
        </p:txBody>
      </p:sp>
      <p:pic>
        <p:nvPicPr>
          <p:cNvPr id="7" name="Picture 6">
            <a:extLst>
              <a:ext uri="{FF2B5EF4-FFF2-40B4-BE49-F238E27FC236}">
                <a16:creationId xmlns:a16="http://schemas.microsoft.com/office/drawing/2014/main" id="{F332541C-25C3-A841-990C-9B00B135A3AA}"/>
              </a:ext>
            </a:extLst>
          </p:cNvPr>
          <p:cNvPicPr>
            <a:picLocks noChangeAspect="1"/>
          </p:cNvPicPr>
          <p:nvPr userDrawn="1"/>
        </p:nvPicPr>
        <p:blipFill>
          <a:blip r:embed="rId15"/>
          <a:stretch>
            <a:fillRect/>
          </a:stretch>
        </p:blipFill>
        <p:spPr>
          <a:xfrm>
            <a:off x="0" y="-13228"/>
            <a:ext cx="12192000" cy="6858000"/>
          </a:xfrm>
          <a:prstGeom prst="rect">
            <a:avLst/>
          </a:prstGeom>
        </p:spPr>
      </p:pic>
    </p:spTree>
    <p:extLst>
      <p:ext uri="{BB962C8B-B14F-4D97-AF65-F5344CB8AC3E}">
        <p14:creationId xmlns:p14="http://schemas.microsoft.com/office/powerpoint/2010/main" val="2217420178"/>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endParaRPr/>
          </a:p>
        </p:txBody>
      </p:sp>
      <p:sp>
        <p:nvSpPr>
          <p:cNvPr id="17" name="bg object 17"/>
          <p:cNvSpPr/>
          <p:nvPr/>
        </p:nvSpPr>
        <p:spPr>
          <a:xfrm>
            <a:off x="0" y="1642871"/>
            <a:ext cx="5218176" cy="5215128"/>
          </a:xfrm>
          <a:prstGeom prst="rect">
            <a:avLst/>
          </a:prstGeom>
          <a:blipFill>
            <a:blip r:embed="rId7" cstate="print"/>
            <a:stretch>
              <a:fillRect/>
            </a:stretch>
          </a:blipFill>
        </p:spPr>
        <p:txBody>
          <a:bodyPr wrap="square" lIns="0" tIns="0" rIns="0" bIns="0" rtlCol="0"/>
          <a:lstStyle/>
          <a:p>
            <a:endParaRPr/>
          </a:p>
        </p:txBody>
      </p:sp>
      <p:sp>
        <p:nvSpPr>
          <p:cNvPr id="18" name="bg object 18"/>
          <p:cNvSpPr/>
          <p:nvPr/>
        </p:nvSpPr>
        <p:spPr>
          <a:xfrm>
            <a:off x="5748528" y="390143"/>
            <a:ext cx="4322826" cy="4322826"/>
          </a:xfrm>
          <a:prstGeom prst="rect">
            <a:avLst/>
          </a:prstGeom>
          <a:blipFill>
            <a:blip r:embed="rId8" cstate="print"/>
            <a:stretch>
              <a:fillRect/>
            </a:stretch>
          </a:blipFill>
        </p:spPr>
        <p:txBody>
          <a:bodyPr wrap="square" lIns="0" tIns="0" rIns="0" bIns="0" rtlCol="0"/>
          <a:lstStyle/>
          <a:p>
            <a:endParaRPr/>
          </a:p>
        </p:txBody>
      </p:sp>
      <p:sp>
        <p:nvSpPr>
          <p:cNvPr id="19" name="bg object 19"/>
          <p:cNvSpPr/>
          <p:nvPr/>
        </p:nvSpPr>
        <p:spPr>
          <a:xfrm>
            <a:off x="0" y="512063"/>
            <a:ext cx="6346698" cy="6343650"/>
          </a:xfrm>
          <a:prstGeom prst="rect">
            <a:avLst/>
          </a:prstGeom>
          <a:blipFill>
            <a:blip r:embed="rId9" cstate="print"/>
            <a:stretch>
              <a:fillRect/>
            </a:stretch>
          </a:blipFill>
        </p:spPr>
        <p:txBody>
          <a:bodyPr wrap="square" lIns="0" tIns="0" rIns="0" bIns="0" rtlCol="0"/>
          <a:lstStyle/>
          <a:p>
            <a:endParaRPr/>
          </a:p>
        </p:txBody>
      </p:sp>
      <p:sp>
        <p:nvSpPr>
          <p:cNvPr id="20" name="bg object 20"/>
          <p:cNvSpPr/>
          <p:nvPr/>
        </p:nvSpPr>
        <p:spPr>
          <a:xfrm>
            <a:off x="0" y="0"/>
            <a:ext cx="12191999" cy="6857996"/>
          </a:xfrm>
          <a:prstGeom prst="rect">
            <a:avLst/>
          </a:prstGeom>
          <a:blipFill>
            <a:blip r:embed="rId10" cstate="print"/>
            <a:stretch>
              <a:fillRect/>
            </a:stretch>
          </a:blipFill>
        </p:spPr>
        <p:txBody>
          <a:bodyPr wrap="square" lIns="0" tIns="0" rIns="0" bIns="0" rtlCol="0"/>
          <a:lstStyle/>
          <a:p>
            <a:endParaRPr/>
          </a:p>
        </p:txBody>
      </p:sp>
      <p:sp>
        <p:nvSpPr>
          <p:cNvPr id="21" name="bg object 21"/>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alpha val="39999"/>
            </a:srgbClr>
          </a:solidFill>
        </p:spPr>
        <p:txBody>
          <a:bodyPr wrap="square" lIns="0" tIns="0" rIns="0" bIns="0" rtlCol="0"/>
          <a:lstStyle/>
          <a:p>
            <a:endParaRPr/>
          </a:p>
        </p:txBody>
      </p:sp>
      <p:sp>
        <p:nvSpPr>
          <p:cNvPr id="2" name="Holder 2"/>
          <p:cNvSpPr>
            <a:spLocks noGrp="1"/>
          </p:cNvSpPr>
          <p:nvPr>
            <p:ph type="title"/>
          </p:nvPr>
        </p:nvSpPr>
        <p:spPr>
          <a:xfrm>
            <a:off x="404164" y="276301"/>
            <a:ext cx="11383670" cy="454025"/>
          </a:xfrm>
          <a:prstGeom prst="rect">
            <a:avLst/>
          </a:prstGeom>
        </p:spPr>
        <p:txBody>
          <a:bodyPr wrap="square" lIns="0" tIns="0" rIns="0" bIns="0">
            <a:spAutoFit/>
          </a:bodyPr>
          <a:lstStyle>
            <a:lvl1pPr>
              <a:defRPr sz="2800" b="0" i="0">
                <a:solidFill>
                  <a:schemeClr val="bg1"/>
                </a:solidFill>
                <a:latin typeface="Verdana"/>
                <a:cs typeface="Verdana"/>
              </a:defRPr>
            </a:lvl1pPr>
          </a:lstStyle>
          <a:p>
            <a:endParaRPr/>
          </a:p>
        </p:txBody>
      </p:sp>
      <p:sp>
        <p:nvSpPr>
          <p:cNvPr id="3" name="Holder 3"/>
          <p:cNvSpPr>
            <a:spLocks noGrp="1"/>
          </p:cNvSpPr>
          <p:nvPr>
            <p:ph type="body" idx="1"/>
          </p:nvPr>
        </p:nvSpPr>
        <p:spPr>
          <a:xfrm>
            <a:off x="608177" y="1579203"/>
            <a:ext cx="10975644" cy="4500245"/>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30/2021</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7623820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www.umultirank.org/" TargetMode="External"/><Relationship Id="rId1" Type="http://schemas.openxmlformats.org/officeDocument/2006/relationships/slideLayout" Target="../slideLayouts/slideLayout34.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hyperlink" Target="http://www.heinnovate.eu/" TargetMode="Externa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www.tefce.eu/" TargetMode="External"/><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3" Type="http://schemas.openxmlformats.org/officeDocument/2006/relationships/hyperlink" Target="http://www.heinnovate.eu/" TargetMode="External"/><Relationship Id="rId2" Type="http://schemas.openxmlformats.org/officeDocument/2006/relationships/hyperlink" Target="http://www.umultirank.org/" TargetMode="External"/><Relationship Id="rId1" Type="http://schemas.openxmlformats.org/officeDocument/2006/relationships/slideLayout" Target="../slideLayouts/slideLayout34.xml"/><Relationship Id="rId5" Type="http://schemas.openxmlformats.org/officeDocument/2006/relationships/hyperlink" Target="http://www.tefce.eu/" TargetMode="External"/><Relationship Id="rId4" Type="http://schemas.openxmlformats.org/officeDocument/2006/relationships/image" Target="../media/image1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43.xml"/><Relationship Id="rId7" Type="http://schemas.openxmlformats.org/officeDocument/2006/relationships/image" Target="../media/image2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3.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3.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4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jpg"/><Relationship Id="rId7" Type="http://schemas.openxmlformats.org/officeDocument/2006/relationships/image" Target="../media/image29.jpeg"/><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image" Target="../media/image28.png"/><Relationship Id="rId5" Type="http://schemas.openxmlformats.org/officeDocument/2006/relationships/image" Target="../media/image27.jp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3.png"/><Relationship Id="rId1" Type="http://schemas.openxmlformats.org/officeDocument/2006/relationships/slideLayout" Target="../slideLayouts/slideLayout43.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3.xml"/></Relationships>
</file>

<file path=ppt/slides/_rels/slide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3.xml"/></Relationships>
</file>

<file path=ppt/slides/_rels/slide3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3.xml"/></Relationships>
</file>

<file path=ppt/slides/_rels/slide3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4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48.xml"/></Relationships>
</file>

<file path=ppt/slides/_rels/slide4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5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png"/></Relationships>
</file>

<file path=ppt/slides/_rels/slide4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jpg"/><Relationship Id="rId3" Type="http://schemas.openxmlformats.org/officeDocument/2006/relationships/image" Target="../media/image37.png"/><Relationship Id="rId7" Type="http://schemas.openxmlformats.org/officeDocument/2006/relationships/image" Target="../media/image45.png"/><Relationship Id="rId12" Type="http://schemas.openxmlformats.org/officeDocument/2006/relationships/image" Target="../media/image50.png"/><Relationship Id="rId2" Type="http://schemas.openxmlformats.org/officeDocument/2006/relationships/image" Target="../media/image8.png"/><Relationship Id="rId1" Type="http://schemas.openxmlformats.org/officeDocument/2006/relationships/slideLayout" Target="../slideLayouts/slideLayout56.xml"/><Relationship Id="rId6" Type="http://schemas.openxmlformats.org/officeDocument/2006/relationships/image" Target="../media/image44.png"/><Relationship Id="rId11" Type="http://schemas.openxmlformats.org/officeDocument/2006/relationships/image" Target="../media/image49.jpg"/><Relationship Id="rId5" Type="http://schemas.openxmlformats.org/officeDocument/2006/relationships/image" Target="../media/image39.png"/><Relationship Id="rId15" Type="http://schemas.openxmlformats.org/officeDocument/2006/relationships/image" Target="../media/image53.jpg"/><Relationship Id="rId10" Type="http://schemas.openxmlformats.org/officeDocument/2006/relationships/image" Target="../media/image48.png"/><Relationship Id="rId4" Type="http://schemas.openxmlformats.org/officeDocument/2006/relationships/image" Target="../media/image38.png"/><Relationship Id="rId9" Type="http://schemas.openxmlformats.org/officeDocument/2006/relationships/image" Target="../media/image47.jpg"/><Relationship Id="rId14" Type="http://schemas.openxmlformats.org/officeDocument/2006/relationships/image" Target="../media/image52.png"/></Relationships>
</file>

<file path=ppt/slides/_rels/slide44.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56.xml"/></Relationships>
</file>

<file path=ppt/slides/_rels/slide45.xml.rels><?xml version="1.0" encoding="UTF-8" standalone="yes"?>
<Relationships xmlns="http://schemas.openxmlformats.org/package/2006/relationships"><Relationship Id="rId2" Type="http://schemas.openxmlformats.org/officeDocument/2006/relationships/image" Target="../media/image55.jpg"/><Relationship Id="rId1" Type="http://schemas.openxmlformats.org/officeDocument/2006/relationships/slideLayout" Target="../slideLayouts/slideLayout56.xml"/></Relationships>
</file>

<file path=ppt/slides/_rels/slide46.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56.xml"/></Relationships>
</file>

<file path=ppt/slides/_rels/slide47.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56.xml"/></Relationships>
</file>

<file path=ppt/slides/_rels/slide48.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Layout" Target="../slideLayouts/slideLayout5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52.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image" Target="../media/image59.jpg"/><Relationship Id="rId1" Type="http://schemas.openxmlformats.org/officeDocument/2006/relationships/slideLayout" Target="../slideLayouts/slideLayout56.xml"/></Relationships>
</file>

<file path=ppt/slides/_rels/slide53.xml.rels><?xml version="1.0" encoding="UTF-8" standalone="yes"?>
<Relationships xmlns="http://schemas.openxmlformats.org/package/2006/relationships"><Relationship Id="rId3" Type="http://schemas.openxmlformats.org/officeDocument/2006/relationships/hyperlink" Target="https://www.russellbedford.com/latest/news/singapore-retains-second-place-in-2019-world-bank-doing-business-report-ranking/" TargetMode="External"/><Relationship Id="rId2" Type="http://schemas.openxmlformats.org/officeDocument/2006/relationships/image" Target="../media/image61.jpg"/><Relationship Id="rId1" Type="http://schemas.openxmlformats.org/officeDocument/2006/relationships/slideLayout" Target="../slideLayouts/slideLayout56.xml"/></Relationships>
</file>

<file path=ppt/slides/_rels/slide54.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62.jpg"/><Relationship Id="rId1" Type="http://schemas.openxmlformats.org/officeDocument/2006/relationships/slideLayout" Target="../slideLayouts/slideLayout56.xml"/></Relationships>
</file>

<file path=ppt/slides/_rels/slide55.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image" Target="../media/image64.jpg"/><Relationship Id="rId1" Type="http://schemas.openxmlformats.org/officeDocument/2006/relationships/slideLayout" Target="../slideLayouts/slideLayout56.xml"/></Relationships>
</file>

<file path=ppt/slides/_rels/slide56.xml.rels><?xml version="1.0" encoding="UTF-8" standalone="yes"?>
<Relationships xmlns="http://schemas.openxmlformats.org/package/2006/relationships"><Relationship Id="rId3" Type="http://schemas.openxmlformats.org/officeDocument/2006/relationships/hyperlink" Target="https://www.a-star.edu.sg/docs/librariesprovider1/default-document-library/news-events/publications/national-survey-of-r-d-2018.pdf" TargetMode="External"/><Relationship Id="rId7" Type="http://schemas.openxmlformats.org/officeDocument/2006/relationships/hyperlink" Target="https://www.russellbedford.com/latest/news/singapore-retains-second-place-in-2019-world-bank-doing-business-report-ranking/" TargetMode="External"/><Relationship Id="rId2" Type="http://schemas.openxmlformats.org/officeDocument/2006/relationships/hyperlink" Target="https://www.nrf.gov.sg/docs/default-source/default-document-library/rie_booklet_fa2021_pages.pdf" TargetMode="External"/><Relationship Id="rId1" Type="http://schemas.openxmlformats.org/officeDocument/2006/relationships/slideLayout" Target="../slideLayouts/slideLayout56.xml"/><Relationship Id="rId6" Type="http://schemas.openxmlformats.org/officeDocument/2006/relationships/hyperlink" Target="https://ace.org.sg/singapore-startup-ecosystem-an-overview/" TargetMode="External"/><Relationship Id="rId5" Type="http://schemas.openxmlformats.org/officeDocument/2006/relationships/hyperlink" Target="https://www.startupsg.gov.sg/" TargetMode="External"/><Relationship Id="rId4" Type="http://schemas.openxmlformats.org/officeDocument/2006/relationships/hyperlink" Target="file:///C:\Users\Pauline\Downloads\Singapore+startup+ecosystem_Oct2020_pp_NL_v1.pdf" TargetMode="External"/></Relationships>
</file>

<file path=ppt/slides/_rels/slide57.xml.rels><?xml version="1.0" encoding="UTF-8" standalone="yes"?>
<Relationships xmlns="http://schemas.openxmlformats.org/package/2006/relationships"><Relationship Id="rId3" Type="http://schemas.openxmlformats.org/officeDocument/2006/relationships/hyperlink" Target="mailto:paulinericatay@gmail.com" TargetMode="External"/><Relationship Id="rId2" Type="http://schemas.openxmlformats.org/officeDocument/2006/relationships/image" Target="../media/image66.jpg"/><Relationship Id="rId1" Type="http://schemas.openxmlformats.org/officeDocument/2006/relationships/slideLayout" Target="../slideLayouts/slideLayout56.xml"/></Relationships>
</file>

<file path=ppt/slides/_rels/slide58.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Afbeelding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23588" y="5596524"/>
            <a:ext cx="3979657" cy="869664"/>
          </a:xfrm>
          <a:prstGeom prst="rect">
            <a:avLst/>
          </a:prstGeom>
        </p:spPr>
      </p:pic>
      <p:sp>
        <p:nvSpPr>
          <p:cNvPr id="19" name="Tekstvak 18"/>
          <p:cNvSpPr txBox="1"/>
          <p:nvPr/>
        </p:nvSpPr>
        <p:spPr>
          <a:xfrm>
            <a:off x="0" y="1777818"/>
            <a:ext cx="12192001" cy="200054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0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endParaRPr>
          </a:p>
          <a:p>
            <a:pPr lvl="0" algn="ctr"/>
            <a:r>
              <a:rPr kumimoji="0" lang="nl-NL" sz="36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rPr>
              <a:t>Impact of </a:t>
            </a:r>
            <a:r>
              <a:rPr kumimoji="0" lang="nl-NL" sz="3600" b="0" i="1" u="none" strike="noStrike" kern="1200" cap="none" spc="0" normalizeH="0" baseline="0" noProof="0" dirty="0" err="1">
                <a:ln>
                  <a:noFill/>
                </a:ln>
                <a:solidFill>
                  <a:prstClr val="black">
                    <a:lumMod val="50000"/>
                  </a:prstClr>
                </a:solidFill>
                <a:effectLst/>
                <a:uLnTx/>
                <a:uFillTx/>
                <a:latin typeface="Garamond" panose="02020404030301010803" pitchFamily="18" charset="0"/>
                <a:ea typeface="+mn-ea"/>
                <a:cs typeface="+mn-cs"/>
              </a:rPr>
              <a:t>Science</a:t>
            </a:r>
            <a:r>
              <a:rPr lang="nl-NL" sz="3600" i="1" dirty="0">
                <a:solidFill>
                  <a:prstClr val="black">
                    <a:lumMod val="50000"/>
                  </a:prstClr>
                </a:solidFill>
                <a:latin typeface="Garamond" panose="02020404030301010803" pitchFamily="18" charset="0"/>
              </a:rPr>
              <a:t> Conference </a:t>
            </a:r>
            <a:r>
              <a:rPr lang="nl-NL" sz="3600" i="1" dirty="0" err="1">
                <a:solidFill>
                  <a:prstClr val="black">
                    <a:lumMod val="50000"/>
                  </a:prstClr>
                </a:solidFill>
                <a:latin typeface="Garamond" panose="02020404030301010803" pitchFamily="18" charset="0"/>
              </a:rPr>
              <a:t>the</a:t>
            </a:r>
            <a:r>
              <a:rPr lang="nl-NL" sz="3600" i="1" dirty="0">
                <a:solidFill>
                  <a:prstClr val="black">
                    <a:lumMod val="50000"/>
                  </a:prstClr>
                </a:solidFill>
                <a:latin typeface="Garamond" panose="02020404030301010803" pitchFamily="18" charset="0"/>
              </a:rPr>
              <a:t> Parallel </a:t>
            </a:r>
            <a:r>
              <a:rPr lang="nl-NL" sz="3600" i="1" dirty="0" err="1">
                <a:solidFill>
                  <a:prstClr val="black">
                    <a:lumMod val="50000"/>
                  </a:prstClr>
                </a:solidFill>
                <a:latin typeface="Garamond" panose="02020404030301010803" pitchFamily="18" charset="0"/>
              </a:rPr>
              <a:t>Session</a:t>
            </a:r>
            <a:r>
              <a:rPr lang="nl-NL" sz="3600" i="1" dirty="0">
                <a:solidFill>
                  <a:prstClr val="black">
                    <a:lumMod val="50000"/>
                  </a:prstClr>
                </a:solidFill>
                <a:latin typeface="Garamond" panose="02020404030301010803" pitchFamily="18" charset="0"/>
              </a:rPr>
              <a:t> on:  </a:t>
            </a:r>
            <a:endParaRPr kumimoji="0" lang="nl-NL" sz="36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2000" b="0" i="1" u="none" strike="noStrike" kern="1200" cap="none" spc="0" normalizeH="0" baseline="0" noProof="0" dirty="0">
              <a:ln>
                <a:noFill/>
              </a:ln>
              <a:solidFill>
                <a:prstClr val="black">
                  <a:lumMod val="50000"/>
                </a:prstClr>
              </a:solidFill>
              <a:effectLst/>
              <a:uLnTx/>
              <a:uFillTx/>
              <a:latin typeface="Garamond" panose="02020404030301010803" pitchFamily="18" charset="0"/>
              <a:ea typeface="+mn-ea"/>
              <a:cs typeface="+mn-cs"/>
            </a:endParaRPr>
          </a:p>
          <a:p>
            <a:pPr lvl="0" algn="ctr"/>
            <a:r>
              <a:rPr lang="en-US" sz="4800" b="1" dirty="0">
                <a:solidFill>
                  <a:srgbClr val="820000"/>
                </a:solidFill>
                <a:latin typeface="Garamond" panose="02020404030301010803" pitchFamily="18" charset="0"/>
              </a:rPr>
              <a:t>Impact Assessment for Effectiveness </a:t>
            </a:r>
            <a:r>
              <a:rPr kumimoji="0" lang="en-US" sz="4800" b="1" i="0" u="none" strike="noStrike" kern="1200" cap="none" spc="0" normalizeH="0" baseline="0" noProof="0" dirty="0">
                <a:ln>
                  <a:noFill/>
                </a:ln>
                <a:solidFill>
                  <a:srgbClr val="820000"/>
                </a:solidFill>
                <a:effectLst/>
                <a:uLnTx/>
                <a:uFillTx/>
                <a:latin typeface="Garamond" panose="02020404030301010803" pitchFamily="18" charset="0"/>
                <a:ea typeface="+mn-ea"/>
                <a:cs typeface="+mn-cs"/>
              </a:rPr>
              <a:t>  </a:t>
            </a:r>
            <a:endParaRPr kumimoji="0" lang="nl-NL" sz="4800" b="1" i="0" u="none" strike="noStrike" kern="1200" cap="none" spc="0" normalizeH="0" baseline="0" noProof="0" dirty="0">
              <a:ln>
                <a:noFill/>
              </a:ln>
              <a:solidFill>
                <a:srgbClr val="820000"/>
              </a:solidFill>
              <a:effectLst/>
              <a:uLnTx/>
              <a:uFillTx/>
              <a:latin typeface="Garamond" panose="02020404030301010803" pitchFamily="18" charset="0"/>
              <a:ea typeface="+mn-ea"/>
              <a:cs typeface="+mn-cs"/>
            </a:endParaRPr>
          </a:p>
        </p:txBody>
      </p:sp>
      <p:sp>
        <p:nvSpPr>
          <p:cNvPr id="20" name="Tekstvak 19"/>
          <p:cNvSpPr txBox="1"/>
          <p:nvPr/>
        </p:nvSpPr>
        <p:spPr>
          <a:xfrm>
            <a:off x="2203274" y="4678426"/>
            <a:ext cx="7785451" cy="461665"/>
          </a:xfrm>
          <a:prstGeom prst="rect">
            <a:avLst/>
          </a:prstGeom>
          <a:noFill/>
        </p:spPr>
        <p:txBody>
          <a:bodyPr wrap="square" rtlCol="0">
            <a:spAutoFit/>
          </a:bodyPr>
          <a:lstStyle/>
          <a:p>
            <a:pPr lvl="0" algn="ctr"/>
            <a:r>
              <a:rPr lang="en-US" sz="2400" b="1" dirty="0">
                <a:solidFill>
                  <a:prstClr val="black"/>
                </a:solidFill>
                <a:latin typeface="Garamond" panose="02020404030301010803" pitchFamily="18" charset="0"/>
              </a:rPr>
              <a:t>24</a:t>
            </a:r>
            <a:r>
              <a:rPr lang="en-US" sz="2400" b="1" baseline="30000" dirty="0">
                <a:solidFill>
                  <a:prstClr val="black"/>
                </a:solidFill>
                <a:latin typeface="Garamond" panose="02020404030301010803" pitchFamily="18" charset="0"/>
              </a:rPr>
              <a:t>th </a:t>
            </a:r>
            <a:r>
              <a:rPr lang="en-US" sz="2400" b="1" dirty="0">
                <a:solidFill>
                  <a:prstClr val="black"/>
                </a:solidFill>
                <a:latin typeface="Garamond" panose="02020404030301010803" pitchFamily="18" charset="0"/>
              </a:rPr>
              <a:t>June, 2021</a:t>
            </a:r>
            <a:endParaRPr kumimoji="0" lang="nl-NL" sz="2400" b="0" i="0" u="none" strike="noStrike" kern="1200" cap="none" spc="0" normalizeH="0" baseline="0" noProof="0" dirty="0">
              <a:ln>
                <a:noFill/>
              </a:ln>
              <a:solidFill>
                <a:prstClr val="black"/>
              </a:solidFill>
              <a:effectLst/>
              <a:uLnTx/>
              <a:uFillTx/>
              <a:latin typeface="Calibri" panose="020F0502020204030204"/>
            </a:endParaRPr>
          </a:p>
        </p:txBody>
      </p:sp>
    </p:spTree>
    <p:extLst>
      <p:ext uri="{BB962C8B-B14F-4D97-AF65-F5344CB8AC3E}">
        <p14:creationId xmlns:p14="http://schemas.microsoft.com/office/powerpoint/2010/main" val="41097737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C38621-667C-4EC0-9AE6-C16C1DA43004}"/>
              </a:ext>
            </a:extLst>
          </p:cNvPr>
          <p:cNvSpPr>
            <a:spLocks noGrp="1"/>
          </p:cNvSpPr>
          <p:nvPr>
            <p:ph type="title"/>
          </p:nvPr>
        </p:nvSpPr>
        <p:spPr>
          <a:xfrm>
            <a:off x="1370358" y="1687637"/>
            <a:ext cx="10515600" cy="712788"/>
          </a:xfrm>
        </p:spPr>
        <p:txBody>
          <a:bodyPr/>
          <a:lstStyle/>
          <a:p>
            <a:r>
              <a:rPr lang="en-GB" dirty="0"/>
              <a:t>University of Twente Shaping 2030</a:t>
            </a:r>
            <a:endParaRPr lang="nl-NL" dirty="0"/>
          </a:p>
        </p:txBody>
      </p:sp>
      <p:sp>
        <p:nvSpPr>
          <p:cNvPr id="3" name="Content Placeholder 2">
            <a:extLst>
              <a:ext uri="{FF2B5EF4-FFF2-40B4-BE49-F238E27FC236}">
                <a16:creationId xmlns:a16="http://schemas.microsoft.com/office/drawing/2014/main" id="{422E2ABA-C677-4ABF-9AD5-FA372A0B539D}"/>
              </a:ext>
            </a:extLst>
          </p:cNvPr>
          <p:cNvSpPr>
            <a:spLocks noGrp="1"/>
          </p:cNvSpPr>
          <p:nvPr>
            <p:ph sz="half" idx="1"/>
          </p:nvPr>
        </p:nvSpPr>
        <p:spPr>
          <a:xfrm>
            <a:off x="1265582" y="2400425"/>
            <a:ext cx="10515600" cy="3410871"/>
          </a:xfrm>
        </p:spPr>
        <p:txBody>
          <a:bodyPr/>
          <a:lstStyle/>
          <a:p>
            <a:r>
              <a:rPr lang="en-GB" sz="2400" b="1" i="0" dirty="0">
                <a:solidFill>
                  <a:srgbClr val="1E2328"/>
                </a:solidFill>
                <a:effectLst/>
                <a:latin typeface="Univers Next W02"/>
              </a:rPr>
              <a:t>‘people-first’ </a:t>
            </a:r>
            <a:r>
              <a:rPr lang="en-GB" sz="2400" b="0" i="0" dirty="0">
                <a:solidFill>
                  <a:srgbClr val="1E2328"/>
                </a:solidFill>
                <a:effectLst/>
                <a:latin typeface="Univers Next W02"/>
              </a:rPr>
              <a:t>: we serve humanity, aware of the interdependencies between people and our planet.</a:t>
            </a:r>
          </a:p>
          <a:p>
            <a:r>
              <a:rPr lang="en-GB" sz="2400" b="1" i="0" dirty="0">
                <a:solidFill>
                  <a:srgbClr val="1E2328"/>
                </a:solidFill>
                <a:effectLst/>
                <a:latin typeface="Univers Next W02"/>
              </a:rPr>
              <a:t>university of technology</a:t>
            </a:r>
            <a:r>
              <a:rPr lang="en-GB" sz="2400" b="0" i="0" dirty="0">
                <a:solidFill>
                  <a:srgbClr val="1E2328"/>
                </a:solidFill>
                <a:effectLst/>
                <a:latin typeface="Univers Next W02"/>
              </a:rPr>
              <a:t>: We are responsible for ensuring that the power of science and technology is harnessed to achieve the best possible impact in a changing world. </a:t>
            </a:r>
          </a:p>
          <a:p>
            <a:r>
              <a:rPr lang="en-GB" sz="2400" b="1" dirty="0">
                <a:solidFill>
                  <a:srgbClr val="1E2328"/>
                </a:solidFill>
                <a:latin typeface="Univers Next W02"/>
              </a:rPr>
              <a:t>w</a:t>
            </a:r>
            <a:r>
              <a:rPr lang="en-GB" sz="2400" b="1" i="0" dirty="0">
                <a:solidFill>
                  <a:srgbClr val="1E2328"/>
                </a:solidFill>
                <a:effectLst/>
                <a:latin typeface="Univers Next W02"/>
              </a:rPr>
              <a:t>e empower</a:t>
            </a:r>
            <a:r>
              <a:rPr lang="en-GB" sz="2400" b="0" i="0" dirty="0">
                <a:solidFill>
                  <a:srgbClr val="1E2328"/>
                </a:solidFill>
                <a:effectLst/>
                <a:latin typeface="Univers Next W02"/>
              </a:rPr>
              <a:t>: we enable society to achieve the goals it sets itself by wise use of science and technology</a:t>
            </a:r>
            <a:endParaRPr lang="en-GB" sz="2400" dirty="0">
              <a:solidFill>
                <a:srgbClr val="1E2328"/>
              </a:solidFill>
              <a:latin typeface="Univers Next W02"/>
            </a:endParaRPr>
          </a:p>
          <a:p>
            <a:r>
              <a:rPr lang="en-GB" sz="2400" b="1" dirty="0">
                <a:solidFill>
                  <a:srgbClr val="1E2328"/>
                </a:solidFill>
                <a:latin typeface="Univers Next W02"/>
              </a:rPr>
              <a:t>w</a:t>
            </a:r>
            <a:r>
              <a:rPr lang="en-GB" sz="2400" b="1" i="0" dirty="0">
                <a:solidFill>
                  <a:srgbClr val="1E2328"/>
                </a:solidFill>
                <a:effectLst/>
                <a:latin typeface="Univers Next W02"/>
              </a:rPr>
              <a:t>e provide sustainable solutions</a:t>
            </a:r>
            <a:r>
              <a:rPr lang="en-GB" sz="2400" b="0" i="0" dirty="0">
                <a:solidFill>
                  <a:srgbClr val="1E2328"/>
                </a:solidFill>
                <a:effectLst/>
                <a:latin typeface="Univers Next W02"/>
              </a:rPr>
              <a:t>: we aim for thriving and resilient communities, with an eye for innovation opportunities, with authoritative expertise, and with a keen sensitivity to society’s needs. </a:t>
            </a:r>
            <a:endParaRPr lang="nl-NL" sz="2400" dirty="0"/>
          </a:p>
        </p:txBody>
      </p:sp>
      <p:sp>
        <p:nvSpPr>
          <p:cNvPr id="5" name="Footer Placeholder 4">
            <a:extLst>
              <a:ext uri="{FF2B5EF4-FFF2-40B4-BE49-F238E27FC236}">
                <a16:creationId xmlns:a16="http://schemas.microsoft.com/office/drawing/2014/main" id="{AFDE37E5-83FA-438D-BB09-9C1FFD3BF321}"/>
              </a:ext>
            </a:extLst>
          </p:cNvPr>
          <p:cNvSpPr>
            <a:spLocks noGrp="1"/>
          </p:cNvSpPr>
          <p:nvPr>
            <p:ph type="ftr" sz="quarter" idx="11"/>
          </p:nvPr>
        </p:nvSpPr>
        <p:spPr>
          <a:xfrm>
            <a:off x="6238940" y="6357848"/>
            <a:ext cx="529249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469BC0"/>
                </a:solidFill>
                <a:effectLst/>
                <a:uLnTx/>
                <a:uFillTx/>
                <a:latin typeface="Arial" panose="020B0604020202020204" pitchFamily="34" charset="0"/>
                <a:ea typeface="+mn-ea"/>
                <a:cs typeface="+mn-cs"/>
              </a:rPr>
              <a:t>AESIS CONFERENCE 23-25 June 2020 | Cape Town | Barend van der Meulen</a:t>
            </a:r>
          </a:p>
        </p:txBody>
      </p:sp>
      <p:pic>
        <p:nvPicPr>
          <p:cNvPr id="7" name="Picture 6">
            <a:extLst>
              <a:ext uri="{FF2B5EF4-FFF2-40B4-BE49-F238E27FC236}">
                <a16:creationId xmlns:a16="http://schemas.microsoft.com/office/drawing/2014/main" id="{E6DF964E-E48E-475D-8140-346C17E35291}"/>
              </a:ext>
            </a:extLst>
          </p:cNvPr>
          <p:cNvPicPr>
            <a:picLocks noChangeAspect="1"/>
          </p:cNvPicPr>
          <p:nvPr/>
        </p:nvPicPr>
        <p:blipFill>
          <a:blip r:embed="rId2"/>
          <a:stretch>
            <a:fillRect/>
          </a:stretch>
        </p:blipFill>
        <p:spPr>
          <a:xfrm>
            <a:off x="2980082" y="302796"/>
            <a:ext cx="5613231" cy="1182562"/>
          </a:xfrm>
          <a:prstGeom prst="rect">
            <a:avLst/>
          </a:prstGeom>
        </p:spPr>
      </p:pic>
      <p:sp>
        <p:nvSpPr>
          <p:cNvPr id="10" name="Slide Number Placeholder 9">
            <a:extLst>
              <a:ext uri="{FF2B5EF4-FFF2-40B4-BE49-F238E27FC236}">
                <a16:creationId xmlns:a16="http://schemas.microsoft.com/office/drawing/2014/main" id="{2F6CF057-3015-4671-80ED-F2AC5A9B8EC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10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718452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94CE5-7F1F-4348-BF6F-436753479EA2}"/>
              </a:ext>
            </a:extLst>
          </p:cNvPr>
          <p:cNvSpPr>
            <a:spLocks noGrp="1"/>
          </p:cNvSpPr>
          <p:nvPr>
            <p:ph type="title"/>
          </p:nvPr>
        </p:nvSpPr>
        <p:spPr>
          <a:xfrm>
            <a:off x="1265583" y="953943"/>
            <a:ext cx="10515600" cy="712788"/>
          </a:xfrm>
        </p:spPr>
        <p:txBody>
          <a:bodyPr/>
          <a:lstStyle/>
          <a:p>
            <a:r>
              <a:rPr lang="en-GB" sz="2400" dirty="0" err="1"/>
              <a:t>Cheps</a:t>
            </a:r>
            <a:r>
              <a:rPr lang="en-GB" sz="3200" dirty="0"/>
              <a:t> Toolbox for Assessing IMPACT of University</a:t>
            </a:r>
            <a:endParaRPr lang="nl-NL" sz="3200" dirty="0"/>
          </a:p>
        </p:txBody>
      </p:sp>
      <p:sp>
        <p:nvSpPr>
          <p:cNvPr id="3" name="Content Placeholder 2">
            <a:extLst>
              <a:ext uri="{FF2B5EF4-FFF2-40B4-BE49-F238E27FC236}">
                <a16:creationId xmlns:a16="http://schemas.microsoft.com/office/drawing/2014/main" id="{6259831F-EA9A-4EA4-8BE8-3395FB1B6C6F}"/>
              </a:ext>
            </a:extLst>
          </p:cNvPr>
          <p:cNvSpPr>
            <a:spLocks noGrp="1"/>
          </p:cNvSpPr>
          <p:nvPr>
            <p:ph sz="half" idx="1"/>
          </p:nvPr>
        </p:nvSpPr>
        <p:spPr>
          <a:xfrm>
            <a:off x="1265583" y="1666731"/>
            <a:ext cx="3934490" cy="4163346"/>
          </a:xfrm>
          <a:ln>
            <a:solidFill>
              <a:schemeClr val="accent1"/>
            </a:solidFill>
          </a:ln>
        </p:spPr>
        <p:txBody>
          <a:bodyPr/>
          <a:lstStyle/>
          <a:p>
            <a:pPr marL="0" indent="0">
              <a:buNone/>
            </a:pPr>
            <a:r>
              <a:rPr lang="en-GB" sz="2400" b="1" dirty="0">
                <a:hlinkClick r:id="rId2"/>
              </a:rPr>
              <a:t>UMultirank</a:t>
            </a:r>
            <a:r>
              <a:rPr lang="en-GB" sz="2000" dirty="0">
                <a:hlinkClick r:id="rId2"/>
              </a:rPr>
              <a:t>.org</a:t>
            </a:r>
            <a:endParaRPr lang="en-GB" sz="2000" dirty="0"/>
          </a:p>
          <a:p>
            <a:r>
              <a:rPr lang="en-GB" sz="1800" dirty="0"/>
              <a:t>Strategic profiling of universities aimed at</a:t>
            </a:r>
          </a:p>
          <a:p>
            <a:pPr lvl="1">
              <a:spcBef>
                <a:spcPts val="0"/>
              </a:spcBef>
            </a:pPr>
            <a:r>
              <a:rPr lang="en-GB" sz="1600" dirty="0"/>
              <a:t>Students</a:t>
            </a:r>
          </a:p>
          <a:p>
            <a:pPr lvl="1">
              <a:spcBef>
                <a:spcPts val="0"/>
              </a:spcBef>
            </a:pPr>
            <a:r>
              <a:rPr lang="en-GB" sz="1600" dirty="0"/>
              <a:t>University management</a:t>
            </a:r>
          </a:p>
          <a:p>
            <a:pPr lvl="1">
              <a:spcBef>
                <a:spcPts val="0"/>
              </a:spcBef>
            </a:pPr>
            <a:r>
              <a:rPr lang="en-GB" sz="1600" dirty="0"/>
              <a:t>Policy makers</a:t>
            </a:r>
          </a:p>
          <a:p>
            <a:r>
              <a:rPr lang="en-GB" sz="1800" dirty="0"/>
              <a:t>Universities Compared</a:t>
            </a:r>
          </a:p>
          <a:p>
            <a:pPr lvl="1">
              <a:spcBef>
                <a:spcPts val="0"/>
              </a:spcBef>
            </a:pPr>
            <a:r>
              <a:rPr lang="en-GB" sz="1600" dirty="0"/>
              <a:t>850 HE institutes</a:t>
            </a:r>
          </a:p>
          <a:p>
            <a:pPr lvl="1">
              <a:spcBef>
                <a:spcPts val="0"/>
              </a:spcBef>
            </a:pPr>
            <a:r>
              <a:rPr lang="en-GB" sz="1600" dirty="0"/>
              <a:t>70 countries</a:t>
            </a:r>
          </a:p>
          <a:p>
            <a:pPr>
              <a:spcBef>
                <a:spcPts val="600"/>
              </a:spcBef>
            </a:pPr>
            <a:r>
              <a:rPr lang="en-GB" sz="1800" dirty="0"/>
              <a:t>Multidimensional </a:t>
            </a:r>
          </a:p>
          <a:p>
            <a:pPr lvl="1">
              <a:spcBef>
                <a:spcPts val="0"/>
              </a:spcBef>
            </a:pPr>
            <a:r>
              <a:rPr lang="en-GB" sz="1600" dirty="0"/>
              <a:t>Learning and Teaching </a:t>
            </a:r>
          </a:p>
          <a:p>
            <a:pPr lvl="1">
              <a:spcBef>
                <a:spcPts val="0"/>
              </a:spcBef>
            </a:pPr>
            <a:r>
              <a:rPr lang="en-GB" sz="1600" dirty="0"/>
              <a:t>Research</a:t>
            </a:r>
          </a:p>
          <a:p>
            <a:pPr lvl="1">
              <a:spcBef>
                <a:spcPts val="0"/>
              </a:spcBef>
            </a:pPr>
            <a:r>
              <a:rPr lang="en-GB" sz="1600" dirty="0"/>
              <a:t>Knowledge Transfer</a:t>
            </a:r>
          </a:p>
          <a:p>
            <a:pPr lvl="1">
              <a:spcBef>
                <a:spcPts val="0"/>
              </a:spcBef>
            </a:pPr>
            <a:r>
              <a:rPr lang="en-GB" sz="1600" dirty="0"/>
              <a:t>International Orientation</a:t>
            </a:r>
          </a:p>
          <a:p>
            <a:pPr lvl="1">
              <a:spcBef>
                <a:spcPts val="0"/>
              </a:spcBef>
            </a:pPr>
            <a:r>
              <a:rPr lang="en-GB" sz="1600" dirty="0"/>
              <a:t>Regional Engagement</a:t>
            </a:r>
          </a:p>
          <a:p>
            <a:pPr>
              <a:spcBef>
                <a:spcPts val="0"/>
              </a:spcBef>
            </a:pPr>
            <a:endParaRPr lang="en-GB" sz="2000" dirty="0"/>
          </a:p>
          <a:p>
            <a:pPr lvl="1"/>
            <a:endParaRPr lang="en-GB" sz="1100" dirty="0"/>
          </a:p>
          <a:p>
            <a:pPr marL="457200" lvl="1" indent="0">
              <a:buNone/>
            </a:pPr>
            <a:endParaRPr lang="en-GB" sz="1000" dirty="0"/>
          </a:p>
          <a:p>
            <a:pPr marL="0" indent="0">
              <a:buNone/>
            </a:pPr>
            <a:endParaRPr lang="en-GB" sz="1400" dirty="0"/>
          </a:p>
          <a:p>
            <a:pPr marL="0" indent="0">
              <a:buNone/>
            </a:pPr>
            <a:endParaRPr lang="en-GB" sz="1400" dirty="0"/>
          </a:p>
          <a:p>
            <a:endParaRPr lang="en-GB" sz="1400" dirty="0"/>
          </a:p>
        </p:txBody>
      </p:sp>
      <p:sp>
        <p:nvSpPr>
          <p:cNvPr id="7" name="Slide Number Placeholder 4">
            <a:extLst>
              <a:ext uri="{FF2B5EF4-FFF2-40B4-BE49-F238E27FC236}">
                <a16:creationId xmlns:a16="http://schemas.microsoft.com/office/drawing/2014/main" id="{952476A4-97E2-418F-BFB2-491900BDB6C4}"/>
              </a:ext>
            </a:extLst>
          </p:cNvPr>
          <p:cNvSpPr txBox="1">
            <a:spLocks/>
          </p:cNvSpPr>
          <p:nvPr/>
        </p:nvSpPr>
        <p:spPr>
          <a:xfrm>
            <a:off x="11447252" y="6356350"/>
            <a:ext cx="352703"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9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
        <p:nvSpPr>
          <p:cNvPr id="17" name="Footer Placeholder 16">
            <a:extLst>
              <a:ext uri="{FF2B5EF4-FFF2-40B4-BE49-F238E27FC236}">
                <a16:creationId xmlns:a16="http://schemas.microsoft.com/office/drawing/2014/main" id="{EAE81301-6B8A-484D-9DF3-6102DDB4E2F2}"/>
              </a:ext>
            </a:extLst>
          </p:cNvPr>
          <p:cNvSpPr>
            <a:spLocks noGrp="1"/>
          </p:cNvSpPr>
          <p:nvPr>
            <p:ph type="ftr" sz="quarter" idx="11"/>
          </p:nvPr>
        </p:nvSpPr>
        <p:spPr>
          <a:xfrm>
            <a:off x="6154759" y="6356349"/>
            <a:ext cx="529249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469BC0"/>
                </a:solidFill>
                <a:effectLst/>
                <a:uLnTx/>
                <a:uFillTx/>
                <a:latin typeface="Arial" panose="020B0604020202020204" pitchFamily="34" charset="0"/>
                <a:ea typeface="+mn-ea"/>
                <a:cs typeface="+mn-cs"/>
              </a:rPr>
              <a:t>AESIS CONFERENCE 23-25 June 2020 | Cape Town | Barend van der Meulen</a:t>
            </a:r>
          </a:p>
        </p:txBody>
      </p:sp>
      <p:pic>
        <p:nvPicPr>
          <p:cNvPr id="10" name="Picture 9">
            <a:extLst>
              <a:ext uri="{FF2B5EF4-FFF2-40B4-BE49-F238E27FC236}">
                <a16:creationId xmlns:a16="http://schemas.microsoft.com/office/drawing/2014/main" id="{BDAC0A0A-E080-42AA-83E4-DBFBA19679E2}"/>
              </a:ext>
            </a:extLst>
          </p:cNvPr>
          <p:cNvPicPr>
            <a:picLocks noChangeAspect="1"/>
          </p:cNvPicPr>
          <p:nvPr/>
        </p:nvPicPr>
        <p:blipFill>
          <a:blip r:embed="rId3"/>
          <a:stretch>
            <a:fillRect/>
          </a:stretch>
        </p:blipFill>
        <p:spPr>
          <a:xfrm>
            <a:off x="5375376" y="1575088"/>
            <a:ext cx="3115252" cy="2932977"/>
          </a:xfrm>
          <a:prstGeom prst="rect">
            <a:avLst/>
          </a:prstGeom>
        </p:spPr>
      </p:pic>
      <p:pic>
        <p:nvPicPr>
          <p:cNvPr id="15" name="Picture 14">
            <a:extLst>
              <a:ext uri="{FF2B5EF4-FFF2-40B4-BE49-F238E27FC236}">
                <a16:creationId xmlns:a16="http://schemas.microsoft.com/office/drawing/2014/main" id="{FD1D0294-966B-451C-8FB3-2B9398772039}"/>
              </a:ext>
            </a:extLst>
          </p:cNvPr>
          <p:cNvPicPr>
            <a:picLocks noChangeAspect="1"/>
          </p:cNvPicPr>
          <p:nvPr/>
        </p:nvPicPr>
        <p:blipFill>
          <a:blip r:embed="rId4"/>
          <a:stretch>
            <a:fillRect/>
          </a:stretch>
        </p:blipFill>
        <p:spPr>
          <a:xfrm>
            <a:off x="4967500" y="4732626"/>
            <a:ext cx="6709081" cy="1964748"/>
          </a:xfrm>
          <a:prstGeom prst="rect">
            <a:avLst/>
          </a:prstGeom>
        </p:spPr>
      </p:pic>
    </p:spTree>
    <p:extLst>
      <p:ext uri="{BB962C8B-B14F-4D97-AF65-F5344CB8AC3E}">
        <p14:creationId xmlns:p14="http://schemas.microsoft.com/office/powerpoint/2010/main" val="11816349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94CE5-7F1F-4348-BF6F-436753479EA2}"/>
              </a:ext>
            </a:extLst>
          </p:cNvPr>
          <p:cNvSpPr>
            <a:spLocks noGrp="1"/>
          </p:cNvSpPr>
          <p:nvPr>
            <p:ph type="title"/>
          </p:nvPr>
        </p:nvSpPr>
        <p:spPr/>
        <p:txBody>
          <a:bodyPr/>
          <a:lstStyle/>
          <a:p>
            <a:r>
              <a:rPr lang="en-GB" sz="2400" dirty="0" err="1"/>
              <a:t>Cheps</a:t>
            </a:r>
            <a:r>
              <a:rPr lang="en-GB" sz="3200" dirty="0"/>
              <a:t> Toolbox for Assessing IMPACT of University</a:t>
            </a:r>
            <a:endParaRPr lang="nl-NL" sz="3200" dirty="0"/>
          </a:p>
        </p:txBody>
      </p:sp>
      <p:sp>
        <p:nvSpPr>
          <p:cNvPr id="6" name="Content Placeholder 3">
            <a:extLst>
              <a:ext uri="{FF2B5EF4-FFF2-40B4-BE49-F238E27FC236}">
                <a16:creationId xmlns:a16="http://schemas.microsoft.com/office/drawing/2014/main" id="{247987E2-C9AD-436D-A95A-C4CEA7961A27}"/>
              </a:ext>
            </a:extLst>
          </p:cNvPr>
          <p:cNvSpPr txBox="1">
            <a:spLocks/>
          </p:cNvSpPr>
          <p:nvPr/>
        </p:nvSpPr>
        <p:spPr>
          <a:xfrm>
            <a:off x="1336906" y="1855788"/>
            <a:ext cx="3301639" cy="4163346"/>
          </a:xfrm>
          <a:prstGeom prst="rect">
            <a:avLst/>
          </a:prstGeom>
          <a:solidFill>
            <a:schemeClr val="bg1"/>
          </a:solidFill>
          <a:ln>
            <a:solidFill>
              <a:schemeClr val="accent1"/>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rgbClr val="002060"/>
                </a:solidFill>
                <a:effectLst/>
                <a:uLnTx/>
                <a:uFillTx/>
                <a:latin typeface="Arial" panose="020B0604020202020204"/>
                <a:ea typeface="+mn-ea"/>
                <a:cs typeface="+mn-cs"/>
                <a:hlinkClick r:id="rId2"/>
              </a:rPr>
              <a:t>HEinnovate</a:t>
            </a:r>
            <a:r>
              <a:rPr kumimoji="0" lang="en-GB" sz="2000" b="0" i="0" u="none" strike="noStrike" kern="1200" cap="none" spc="0" normalizeH="0" baseline="0" noProof="0" dirty="0">
                <a:ln>
                  <a:noFill/>
                </a:ln>
                <a:solidFill>
                  <a:srgbClr val="002060"/>
                </a:solidFill>
                <a:effectLst/>
                <a:uLnTx/>
                <a:uFillTx/>
                <a:latin typeface="Arial" panose="020B0604020202020204"/>
                <a:ea typeface="+mn-ea"/>
                <a:cs typeface="+mn-cs"/>
                <a:hlinkClick r:id="rId2"/>
              </a:rPr>
              <a:t>.eu</a:t>
            </a:r>
            <a:endParaRPr kumimoji="0" lang="en-GB" sz="20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EU initiative to support strategic change </a:t>
            </a:r>
            <a:r>
              <a:rPr kumimoji="0" lang="en-GB" sz="1600" b="0" i="1" u="none" strike="noStrike" kern="1200" cap="none" spc="0" normalizeH="0" baseline="0" noProof="0" dirty="0">
                <a:ln>
                  <a:noFill/>
                </a:ln>
                <a:solidFill>
                  <a:srgbClr val="000000"/>
                </a:solidFill>
                <a:effectLst/>
                <a:uLnTx/>
                <a:uFillTx/>
                <a:latin typeface="Arial" panose="020B0604020202020204"/>
                <a:ea typeface="+mn-ea"/>
                <a:cs typeface="+mn-cs"/>
              </a:rPr>
              <a:t>of </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universities</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Leadership and Governance</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Organisational Capacity: Funding, People and Incentives</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Entrepreneurial Teaching and Learning</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Preparing and Supporting Entrepreneurs</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Digital Transformation and Capability</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Knowledge Exchange and Collaboration</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The Internationalised Institution</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Measuring Impact of Chang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nl-NL" sz="2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Slide Number Placeholder 4">
            <a:extLst>
              <a:ext uri="{FF2B5EF4-FFF2-40B4-BE49-F238E27FC236}">
                <a16:creationId xmlns:a16="http://schemas.microsoft.com/office/drawing/2014/main" id="{952476A4-97E2-418F-BFB2-491900BDB6C4}"/>
              </a:ext>
            </a:extLst>
          </p:cNvPr>
          <p:cNvSpPr txBox="1">
            <a:spLocks/>
          </p:cNvSpPr>
          <p:nvPr/>
        </p:nvSpPr>
        <p:spPr>
          <a:xfrm>
            <a:off x="11447252" y="6356350"/>
            <a:ext cx="352703"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9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9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
        <p:nvSpPr>
          <p:cNvPr id="8" name="Footer Placeholder 10">
            <a:extLst>
              <a:ext uri="{FF2B5EF4-FFF2-40B4-BE49-F238E27FC236}">
                <a16:creationId xmlns:a16="http://schemas.microsoft.com/office/drawing/2014/main" id="{6E84C184-DF8C-4099-A17B-29C4E301C26B}"/>
              </a:ext>
            </a:extLst>
          </p:cNvPr>
          <p:cNvSpPr txBox="1">
            <a:spLocks/>
          </p:cNvSpPr>
          <p:nvPr/>
        </p:nvSpPr>
        <p:spPr>
          <a:xfrm>
            <a:off x="6720720" y="6405613"/>
            <a:ext cx="529249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69BC0"/>
                </a:solidFill>
                <a:effectLst/>
                <a:uLnTx/>
                <a:uFillTx/>
                <a:latin typeface="Arial" panose="020B0604020202020204"/>
                <a:ea typeface="+mn-ea"/>
                <a:cs typeface="+mn-cs"/>
              </a:rPr>
              <a:t>AESIS CONFERENCE 4-6 November 2020 | Krakow | Barend van der Meulen</a:t>
            </a:r>
          </a:p>
        </p:txBody>
      </p:sp>
      <p:pic>
        <p:nvPicPr>
          <p:cNvPr id="16" name="Picture 15">
            <a:extLst>
              <a:ext uri="{FF2B5EF4-FFF2-40B4-BE49-F238E27FC236}">
                <a16:creationId xmlns:a16="http://schemas.microsoft.com/office/drawing/2014/main" id="{1CE8672C-AA86-4F3E-BF0D-8370B8B84970}"/>
              </a:ext>
            </a:extLst>
          </p:cNvPr>
          <p:cNvPicPr>
            <a:picLocks noChangeAspect="1"/>
          </p:cNvPicPr>
          <p:nvPr/>
        </p:nvPicPr>
        <p:blipFill>
          <a:blip r:embed="rId3"/>
          <a:stretch>
            <a:fillRect/>
          </a:stretch>
        </p:blipFill>
        <p:spPr>
          <a:xfrm>
            <a:off x="5188887" y="1972574"/>
            <a:ext cx="5548256" cy="3742426"/>
          </a:xfrm>
          <a:prstGeom prst="rect">
            <a:avLst/>
          </a:prstGeom>
        </p:spPr>
      </p:pic>
    </p:spTree>
    <p:extLst>
      <p:ext uri="{BB962C8B-B14F-4D97-AF65-F5344CB8AC3E}">
        <p14:creationId xmlns:p14="http://schemas.microsoft.com/office/powerpoint/2010/main" val="6178830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94CE5-7F1F-4348-BF6F-436753479EA2}"/>
              </a:ext>
            </a:extLst>
          </p:cNvPr>
          <p:cNvSpPr>
            <a:spLocks noGrp="1"/>
          </p:cNvSpPr>
          <p:nvPr>
            <p:ph type="title"/>
          </p:nvPr>
        </p:nvSpPr>
        <p:spPr/>
        <p:txBody>
          <a:bodyPr/>
          <a:lstStyle/>
          <a:p>
            <a:r>
              <a:rPr lang="en-GB" sz="2400" dirty="0" err="1"/>
              <a:t>Cheps</a:t>
            </a:r>
            <a:r>
              <a:rPr lang="en-GB" sz="3200" dirty="0"/>
              <a:t> Toolbox for Assessing IMPACT of University</a:t>
            </a:r>
            <a:endParaRPr lang="nl-NL" sz="3200" dirty="0"/>
          </a:p>
        </p:txBody>
      </p:sp>
      <p:sp>
        <p:nvSpPr>
          <p:cNvPr id="4" name="Content Placeholder 3">
            <a:extLst>
              <a:ext uri="{FF2B5EF4-FFF2-40B4-BE49-F238E27FC236}">
                <a16:creationId xmlns:a16="http://schemas.microsoft.com/office/drawing/2014/main" id="{3A41E4DE-B341-4FE4-ABD6-387A83B39A1C}"/>
              </a:ext>
            </a:extLst>
          </p:cNvPr>
          <p:cNvSpPr>
            <a:spLocks noGrp="1"/>
          </p:cNvSpPr>
          <p:nvPr>
            <p:ph sz="half" idx="2"/>
          </p:nvPr>
        </p:nvSpPr>
        <p:spPr>
          <a:xfrm>
            <a:off x="8321964" y="1985803"/>
            <a:ext cx="3301639" cy="4163346"/>
          </a:xfrm>
          <a:ln>
            <a:solidFill>
              <a:schemeClr val="accent1"/>
            </a:solidFill>
          </a:ln>
        </p:spPr>
        <p:txBody>
          <a:bodyPr/>
          <a:lstStyle/>
          <a:p>
            <a:r>
              <a:rPr lang="en-GB" sz="2400" b="1" dirty="0">
                <a:solidFill>
                  <a:srgbClr val="002060"/>
                </a:solidFill>
                <a:hlinkClick r:id="rId2"/>
              </a:rPr>
              <a:t>TEFCE</a:t>
            </a:r>
            <a:r>
              <a:rPr lang="en-GB" sz="2000" dirty="0">
                <a:solidFill>
                  <a:srgbClr val="002060"/>
                </a:solidFill>
                <a:hlinkClick r:id="rId2"/>
              </a:rPr>
              <a:t>.eu</a:t>
            </a:r>
            <a:endParaRPr lang="en-GB" sz="2000" dirty="0">
              <a:solidFill>
                <a:srgbClr val="002060"/>
              </a:solidFill>
            </a:endParaRPr>
          </a:p>
          <a:p>
            <a:r>
              <a:rPr lang="en-GB" sz="1600" dirty="0"/>
              <a:t>Framework for Community Engagement in Higher Education</a:t>
            </a:r>
          </a:p>
          <a:p>
            <a:r>
              <a:rPr lang="en-GB" sz="1600" b="1" dirty="0"/>
              <a:t>Aim</a:t>
            </a:r>
            <a:r>
              <a:rPr lang="en-GB" sz="1600" dirty="0"/>
              <a:t>: supporting, monitoring and assessing the community engagement of universities.</a:t>
            </a:r>
          </a:p>
          <a:p>
            <a:r>
              <a:rPr lang="en-GB" sz="1600" dirty="0"/>
              <a:t>Strategic process to strengthen community engagement</a:t>
            </a:r>
          </a:p>
          <a:p>
            <a:pPr marL="457200" lvl="1" indent="0">
              <a:spcBef>
                <a:spcPts val="300"/>
              </a:spcBef>
              <a:buNone/>
            </a:pPr>
            <a:r>
              <a:rPr lang="en-GB" sz="1400" dirty="0"/>
              <a:t>Step 1 Quick Scan</a:t>
            </a:r>
          </a:p>
          <a:p>
            <a:pPr marL="457200" lvl="1" indent="0">
              <a:spcBef>
                <a:spcPts val="300"/>
              </a:spcBef>
              <a:buNone/>
            </a:pPr>
            <a:r>
              <a:rPr lang="en-GB" sz="1400" dirty="0"/>
              <a:t>Step 2 Evidence collection</a:t>
            </a:r>
          </a:p>
          <a:p>
            <a:pPr marL="457200" lvl="1" indent="0">
              <a:spcBef>
                <a:spcPts val="300"/>
              </a:spcBef>
              <a:buNone/>
            </a:pPr>
            <a:r>
              <a:rPr lang="en-GB" sz="1400" dirty="0"/>
              <a:t>Step 3 Mapping report</a:t>
            </a:r>
          </a:p>
          <a:p>
            <a:pPr marL="457200" lvl="1" indent="0">
              <a:spcBef>
                <a:spcPts val="300"/>
              </a:spcBef>
              <a:buNone/>
            </a:pPr>
            <a:r>
              <a:rPr lang="en-GB" sz="1400" dirty="0"/>
              <a:t>Step 4 Participative dialogue</a:t>
            </a:r>
          </a:p>
          <a:p>
            <a:pPr marL="457200" lvl="1" indent="0">
              <a:spcBef>
                <a:spcPts val="300"/>
              </a:spcBef>
              <a:buNone/>
            </a:pPr>
            <a:r>
              <a:rPr lang="en-GB" sz="1400" dirty="0"/>
              <a:t>Step 5 Institutional report</a:t>
            </a:r>
            <a:endParaRPr lang="nl-NL" sz="1400" dirty="0"/>
          </a:p>
          <a:p>
            <a:endParaRPr lang="nl-NL" sz="1600" dirty="0"/>
          </a:p>
        </p:txBody>
      </p:sp>
      <p:sp>
        <p:nvSpPr>
          <p:cNvPr id="7" name="Slide Number Placeholder 4">
            <a:extLst>
              <a:ext uri="{FF2B5EF4-FFF2-40B4-BE49-F238E27FC236}">
                <a16:creationId xmlns:a16="http://schemas.microsoft.com/office/drawing/2014/main" id="{952476A4-97E2-418F-BFB2-491900BDB6C4}"/>
              </a:ext>
            </a:extLst>
          </p:cNvPr>
          <p:cNvSpPr txBox="1">
            <a:spLocks/>
          </p:cNvSpPr>
          <p:nvPr/>
        </p:nvSpPr>
        <p:spPr>
          <a:xfrm>
            <a:off x="11447252" y="6356350"/>
            <a:ext cx="352703"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9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9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
        <p:nvSpPr>
          <p:cNvPr id="8" name="Footer Placeholder 10">
            <a:extLst>
              <a:ext uri="{FF2B5EF4-FFF2-40B4-BE49-F238E27FC236}">
                <a16:creationId xmlns:a16="http://schemas.microsoft.com/office/drawing/2014/main" id="{6E84C184-DF8C-4099-A17B-29C4E301C26B}"/>
              </a:ext>
            </a:extLst>
          </p:cNvPr>
          <p:cNvSpPr txBox="1">
            <a:spLocks/>
          </p:cNvSpPr>
          <p:nvPr/>
        </p:nvSpPr>
        <p:spPr>
          <a:xfrm>
            <a:off x="6720720" y="6405613"/>
            <a:ext cx="529249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69BC0"/>
                </a:solidFill>
                <a:effectLst/>
                <a:uLnTx/>
                <a:uFillTx/>
                <a:latin typeface="Arial" panose="020B0604020202020204"/>
                <a:ea typeface="+mn-ea"/>
                <a:cs typeface="+mn-cs"/>
              </a:rPr>
              <a:t>AESIS CONFERENCE 4-6 November 2020 | Krakow | Barend van der Meulen</a:t>
            </a:r>
          </a:p>
        </p:txBody>
      </p:sp>
      <p:pic>
        <p:nvPicPr>
          <p:cNvPr id="9" name="Picture 8">
            <a:extLst>
              <a:ext uri="{FF2B5EF4-FFF2-40B4-BE49-F238E27FC236}">
                <a16:creationId xmlns:a16="http://schemas.microsoft.com/office/drawing/2014/main" id="{05247467-72A1-4739-AD3D-9C40F2ABBBB8}"/>
              </a:ext>
            </a:extLst>
          </p:cNvPr>
          <p:cNvPicPr>
            <a:picLocks noChangeAspect="1"/>
          </p:cNvPicPr>
          <p:nvPr/>
        </p:nvPicPr>
        <p:blipFill>
          <a:blip r:embed="rId3"/>
          <a:stretch>
            <a:fillRect/>
          </a:stretch>
        </p:blipFill>
        <p:spPr>
          <a:xfrm>
            <a:off x="923837" y="2215540"/>
            <a:ext cx="7056380" cy="3401402"/>
          </a:xfrm>
          <a:prstGeom prst="rect">
            <a:avLst/>
          </a:prstGeom>
        </p:spPr>
      </p:pic>
    </p:spTree>
    <p:extLst>
      <p:ext uri="{BB962C8B-B14F-4D97-AF65-F5344CB8AC3E}">
        <p14:creationId xmlns:p14="http://schemas.microsoft.com/office/powerpoint/2010/main" val="2188083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894CE5-7F1F-4348-BF6F-436753479EA2}"/>
              </a:ext>
            </a:extLst>
          </p:cNvPr>
          <p:cNvSpPr>
            <a:spLocks noGrp="1"/>
          </p:cNvSpPr>
          <p:nvPr>
            <p:ph type="title"/>
          </p:nvPr>
        </p:nvSpPr>
        <p:spPr/>
        <p:txBody>
          <a:bodyPr/>
          <a:lstStyle/>
          <a:p>
            <a:r>
              <a:rPr lang="en-GB" sz="2400" dirty="0" err="1"/>
              <a:t>Cheps</a:t>
            </a:r>
            <a:r>
              <a:rPr lang="en-GB" sz="3200" dirty="0"/>
              <a:t> Toolbox for Assessing IMPACT of University</a:t>
            </a:r>
            <a:endParaRPr lang="nl-NL" sz="3200" dirty="0"/>
          </a:p>
        </p:txBody>
      </p:sp>
      <p:sp>
        <p:nvSpPr>
          <p:cNvPr id="3" name="Content Placeholder 2">
            <a:extLst>
              <a:ext uri="{FF2B5EF4-FFF2-40B4-BE49-F238E27FC236}">
                <a16:creationId xmlns:a16="http://schemas.microsoft.com/office/drawing/2014/main" id="{6259831F-EA9A-4EA4-8BE8-3395FB1B6C6F}"/>
              </a:ext>
            </a:extLst>
          </p:cNvPr>
          <p:cNvSpPr>
            <a:spLocks noGrp="1"/>
          </p:cNvSpPr>
          <p:nvPr>
            <p:ph sz="half" idx="1"/>
          </p:nvPr>
        </p:nvSpPr>
        <p:spPr>
          <a:xfrm>
            <a:off x="1265583" y="1990725"/>
            <a:ext cx="3259758" cy="4163346"/>
          </a:xfrm>
          <a:ln>
            <a:solidFill>
              <a:schemeClr val="accent1"/>
            </a:solidFill>
          </a:ln>
        </p:spPr>
        <p:txBody>
          <a:bodyPr/>
          <a:lstStyle/>
          <a:p>
            <a:pPr marL="0" indent="0">
              <a:buNone/>
            </a:pPr>
            <a:r>
              <a:rPr lang="en-GB" sz="2400" b="1" dirty="0">
                <a:hlinkClick r:id="rId2"/>
              </a:rPr>
              <a:t>UMultirank</a:t>
            </a:r>
            <a:r>
              <a:rPr lang="en-GB" sz="2000" dirty="0">
                <a:hlinkClick r:id="rId2"/>
              </a:rPr>
              <a:t>.org</a:t>
            </a:r>
            <a:endParaRPr lang="en-GB" sz="2000" dirty="0"/>
          </a:p>
          <a:p>
            <a:r>
              <a:rPr lang="en-GB" sz="1600" dirty="0"/>
              <a:t>Universities Compared</a:t>
            </a:r>
          </a:p>
          <a:p>
            <a:pPr lvl="1">
              <a:spcBef>
                <a:spcPts val="0"/>
              </a:spcBef>
            </a:pPr>
            <a:r>
              <a:rPr lang="en-GB" sz="1400" dirty="0"/>
              <a:t>850 HE institutes</a:t>
            </a:r>
          </a:p>
          <a:p>
            <a:pPr lvl="1">
              <a:spcBef>
                <a:spcPts val="0"/>
              </a:spcBef>
            </a:pPr>
            <a:r>
              <a:rPr lang="en-GB" sz="1400" dirty="0"/>
              <a:t>70 countries</a:t>
            </a:r>
          </a:p>
          <a:p>
            <a:pPr>
              <a:spcBef>
                <a:spcPts val="600"/>
              </a:spcBef>
            </a:pPr>
            <a:r>
              <a:rPr lang="en-GB" sz="1600" dirty="0"/>
              <a:t>Multidimensional </a:t>
            </a:r>
          </a:p>
          <a:p>
            <a:pPr lvl="1">
              <a:spcBef>
                <a:spcPts val="0"/>
              </a:spcBef>
            </a:pPr>
            <a:r>
              <a:rPr lang="en-GB" sz="1400" dirty="0"/>
              <a:t>Learning and Teaching </a:t>
            </a:r>
          </a:p>
          <a:p>
            <a:pPr lvl="1">
              <a:spcBef>
                <a:spcPts val="0"/>
              </a:spcBef>
            </a:pPr>
            <a:r>
              <a:rPr lang="en-GB" sz="1400" dirty="0"/>
              <a:t>Research</a:t>
            </a:r>
          </a:p>
          <a:p>
            <a:pPr lvl="1">
              <a:spcBef>
                <a:spcPts val="0"/>
              </a:spcBef>
            </a:pPr>
            <a:r>
              <a:rPr lang="en-GB" sz="1400" dirty="0"/>
              <a:t>Knowledge Transfer</a:t>
            </a:r>
          </a:p>
          <a:p>
            <a:pPr lvl="1">
              <a:spcBef>
                <a:spcPts val="0"/>
              </a:spcBef>
            </a:pPr>
            <a:r>
              <a:rPr lang="en-GB" sz="1400" dirty="0"/>
              <a:t>International Orientation</a:t>
            </a:r>
          </a:p>
          <a:p>
            <a:pPr lvl="1">
              <a:spcBef>
                <a:spcPts val="0"/>
              </a:spcBef>
            </a:pPr>
            <a:r>
              <a:rPr lang="en-GB" sz="1400" dirty="0"/>
              <a:t>Regional </a:t>
            </a:r>
            <a:r>
              <a:rPr lang="en-GB" sz="1400" dirty="0" err="1"/>
              <a:t>Engagment</a:t>
            </a:r>
            <a:endParaRPr lang="en-GB" sz="1400" dirty="0"/>
          </a:p>
          <a:p>
            <a:pPr lvl="1"/>
            <a:endParaRPr lang="en-GB" sz="1100" dirty="0"/>
          </a:p>
          <a:p>
            <a:pPr marL="457200" lvl="1" indent="0">
              <a:buNone/>
            </a:pPr>
            <a:endParaRPr lang="en-GB" sz="1000" dirty="0"/>
          </a:p>
          <a:p>
            <a:pPr marL="0" indent="0">
              <a:buNone/>
            </a:pPr>
            <a:endParaRPr lang="en-GB" sz="1400" dirty="0"/>
          </a:p>
          <a:p>
            <a:pPr marL="0" indent="0">
              <a:buNone/>
            </a:pPr>
            <a:endParaRPr lang="en-GB" sz="1400" dirty="0"/>
          </a:p>
          <a:p>
            <a:endParaRPr lang="en-GB" sz="1400" dirty="0"/>
          </a:p>
        </p:txBody>
      </p:sp>
      <p:sp>
        <p:nvSpPr>
          <p:cNvPr id="6" name="Content Placeholder 3">
            <a:extLst>
              <a:ext uri="{FF2B5EF4-FFF2-40B4-BE49-F238E27FC236}">
                <a16:creationId xmlns:a16="http://schemas.microsoft.com/office/drawing/2014/main" id="{247987E2-C9AD-436D-A95A-C4CEA7961A27}"/>
              </a:ext>
            </a:extLst>
          </p:cNvPr>
          <p:cNvSpPr txBox="1">
            <a:spLocks/>
          </p:cNvSpPr>
          <p:nvPr/>
        </p:nvSpPr>
        <p:spPr>
          <a:xfrm>
            <a:off x="4782069" y="1995039"/>
            <a:ext cx="3301639" cy="4163346"/>
          </a:xfrm>
          <a:prstGeom prst="rect">
            <a:avLst/>
          </a:prstGeom>
          <a:solidFill>
            <a:schemeClr val="bg1"/>
          </a:solidFill>
          <a:ln>
            <a:solidFill>
              <a:schemeClr val="accent1"/>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400" b="1" i="0" u="none" strike="noStrike" kern="1200" cap="none" spc="0" normalizeH="0" baseline="0" noProof="0" dirty="0">
                <a:ln>
                  <a:noFill/>
                </a:ln>
                <a:solidFill>
                  <a:srgbClr val="002060"/>
                </a:solidFill>
                <a:effectLst/>
                <a:uLnTx/>
                <a:uFillTx/>
                <a:latin typeface="Arial" panose="020B0604020202020204"/>
                <a:ea typeface="+mn-ea"/>
                <a:cs typeface="+mn-cs"/>
                <a:hlinkClick r:id="rId3"/>
              </a:rPr>
              <a:t>HEinnovate</a:t>
            </a:r>
            <a:r>
              <a:rPr kumimoji="0" lang="en-GB" sz="2000" b="0" i="0" u="none" strike="noStrike" kern="1200" cap="none" spc="0" normalizeH="0" baseline="0" noProof="0" dirty="0">
                <a:ln>
                  <a:noFill/>
                </a:ln>
                <a:solidFill>
                  <a:srgbClr val="002060"/>
                </a:solidFill>
                <a:effectLst/>
                <a:uLnTx/>
                <a:uFillTx/>
                <a:latin typeface="Arial" panose="020B0604020202020204"/>
                <a:ea typeface="+mn-ea"/>
                <a:cs typeface="+mn-cs"/>
                <a:hlinkClick r:id="rId3"/>
              </a:rPr>
              <a:t>.eu</a:t>
            </a:r>
            <a:endParaRPr kumimoji="0" lang="en-GB" sz="2000" b="0" i="0" u="none" strike="noStrike" kern="1200" cap="none" spc="0" normalizeH="0" baseline="0" noProof="0" dirty="0">
              <a:ln>
                <a:noFill/>
              </a:ln>
              <a:solidFill>
                <a:srgbClr val="002060"/>
              </a:solidFill>
              <a:effectLst/>
              <a:uLnTx/>
              <a:uFillTx/>
              <a:latin typeface="Arial" panose="020B060402020202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EU initiative to support strategic change </a:t>
            </a:r>
            <a:r>
              <a:rPr kumimoji="0" lang="en-GB" sz="1600" b="0" i="1" u="none" strike="noStrike" kern="1200" cap="none" spc="0" normalizeH="0" baseline="0" noProof="0" dirty="0">
                <a:ln>
                  <a:noFill/>
                </a:ln>
                <a:solidFill>
                  <a:srgbClr val="000000"/>
                </a:solidFill>
                <a:effectLst/>
                <a:uLnTx/>
                <a:uFillTx/>
                <a:latin typeface="Arial" panose="020B0604020202020204"/>
                <a:ea typeface="+mn-ea"/>
                <a:cs typeface="+mn-cs"/>
              </a:rPr>
              <a:t>of </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universities</a:t>
            </a:r>
          </a:p>
          <a:p>
            <a:pPr marL="228600" marR="0" lvl="0" indent="-228600" algn="l" defTabSz="914400" rtl="0" eaLnBrk="1" fontAlgn="auto" latinLnBrk="0" hangingPunct="1">
              <a:lnSpc>
                <a:spcPct val="90000"/>
              </a:lnSpc>
              <a:spcBef>
                <a:spcPts val="6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Leadership and Governance</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Organisational Capacity: Funding, People and Incentives</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Entrepreneurial Teaching and Learning</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Preparing and Supporting Entrepreneurs</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Digital Transformation and Capability</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Knowledge Exchange and Collaboration</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The Internationalised Institution</a:t>
            </a:r>
          </a:p>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Arial" panose="020B0604020202020204"/>
                <a:ea typeface="+mn-ea"/>
                <a:cs typeface="+mn-cs"/>
              </a:rPr>
              <a:t>Measuring Impact of Chang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nl-NL" sz="2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 name="Slide Number Placeholder 4">
            <a:extLst>
              <a:ext uri="{FF2B5EF4-FFF2-40B4-BE49-F238E27FC236}">
                <a16:creationId xmlns:a16="http://schemas.microsoft.com/office/drawing/2014/main" id="{952476A4-97E2-418F-BFB2-491900BDB6C4}"/>
              </a:ext>
            </a:extLst>
          </p:cNvPr>
          <p:cNvSpPr txBox="1">
            <a:spLocks/>
          </p:cNvSpPr>
          <p:nvPr/>
        </p:nvSpPr>
        <p:spPr>
          <a:xfrm>
            <a:off x="11447252" y="6356350"/>
            <a:ext cx="352703"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9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9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
        <p:nvSpPr>
          <p:cNvPr id="8" name="Footer Placeholder 10">
            <a:extLst>
              <a:ext uri="{FF2B5EF4-FFF2-40B4-BE49-F238E27FC236}">
                <a16:creationId xmlns:a16="http://schemas.microsoft.com/office/drawing/2014/main" id="{6E84C184-DF8C-4099-A17B-29C4E301C26B}"/>
              </a:ext>
            </a:extLst>
          </p:cNvPr>
          <p:cNvSpPr txBox="1">
            <a:spLocks/>
          </p:cNvSpPr>
          <p:nvPr/>
        </p:nvSpPr>
        <p:spPr>
          <a:xfrm>
            <a:off x="6720720" y="6405613"/>
            <a:ext cx="529249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69BC0"/>
                </a:solidFill>
                <a:effectLst/>
                <a:uLnTx/>
                <a:uFillTx/>
                <a:latin typeface="Arial" panose="020B0604020202020204"/>
                <a:ea typeface="+mn-ea"/>
                <a:cs typeface="+mn-cs"/>
              </a:rPr>
              <a:t>AESIS CONFERENCE 4-6 November 2020 | Krakow | Barend van der Meulen</a:t>
            </a:r>
          </a:p>
        </p:txBody>
      </p:sp>
      <p:pic>
        <p:nvPicPr>
          <p:cNvPr id="11" name="Picture 10">
            <a:extLst>
              <a:ext uri="{FF2B5EF4-FFF2-40B4-BE49-F238E27FC236}">
                <a16:creationId xmlns:a16="http://schemas.microsoft.com/office/drawing/2014/main" id="{5F3AF762-B021-47AA-8154-29802E461D9A}"/>
              </a:ext>
            </a:extLst>
          </p:cNvPr>
          <p:cNvPicPr>
            <a:picLocks noChangeAspect="1"/>
          </p:cNvPicPr>
          <p:nvPr/>
        </p:nvPicPr>
        <p:blipFill>
          <a:blip r:embed="rId4"/>
          <a:stretch>
            <a:fillRect/>
          </a:stretch>
        </p:blipFill>
        <p:spPr>
          <a:xfrm>
            <a:off x="1341457" y="4535249"/>
            <a:ext cx="1595708" cy="1502342"/>
          </a:xfrm>
          <a:prstGeom prst="rect">
            <a:avLst/>
          </a:prstGeom>
        </p:spPr>
      </p:pic>
      <p:sp>
        <p:nvSpPr>
          <p:cNvPr id="13" name="Content Placeholder 3">
            <a:extLst>
              <a:ext uri="{FF2B5EF4-FFF2-40B4-BE49-F238E27FC236}">
                <a16:creationId xmlns:a16="http://schemas.microsoft.com/office/drawing/2014/main" id="{87DC9D81-B1C7-43C8-95B3-90B78CD47930}"/>
              </a:ext>
            </a:extLst>
          </p:cNvPr>
          <p:cNvSpPr>
            <a:spLocks noGrp="1"/>
          </p:cNvSpPr>
          <p:nvPr>
            <p:ph sz="half" idx="2"/>
          </p:nvPr>
        </p:nvSpPr>
        <p:spPr>
          <a:xfrm>
            <a:off x="8321964" y="1985803"/>
            <a:ext cx="3301639" cy="4163346"/>
          </a:xfrm>
          <a:ln>
            <a:solidFill>
              <a:schemeClr val="accent1"/>
            </a:solidFill>
          </a:ln>
        </p:spPr>
        <p:txBody>
          <a:bodyPr/>
          <a:lstStyle/>
          <a:p>
            <a:r>
              <a:rPr lang="en-GB" sz="2400" b="1" dirty="0">
                <a:solidFill>
                  <a:srgbClr val="002060"/>
                </a:solidFill>
                <a:hlinkClick r:id="rId5"/>
              </a:rPr>
              <a:t>TEFCE</a:t>
            </a:r>
            <a:r>
              <a:rPr lang="en-GB" sz="2000" dirty="0">
                <a:solidFill>
                  <a:srgbClr val="002060"/>
                </a:solidFill>
                <a:hlinkClick r:id="rId5"/>
              </a:rPr>
              <a:t>.eu</a:t>
            </a:r>
            <a:endParaRPr lang="en-GB" sz="2000" dirty="0">
              <a:solidFill>
                <a:srgbClr val="002060"/>
              </a:solidFill>
            </a:endParaRPr>
          </a:p>
          <a:p>
            <a:r>
              <a:rPr lang="en-GB" sz="1600" dirty="0"/>
              <a:t>Framework for Community Engagement in Higher Education</a:t>
            </a:r>
          </a:p>
          <a:p>
            <a:r>
              <a:rPr lang="en-GB" sz="1600" b="1" dirty="0"/>
              <a:t>Aim</a:t>
            </a:r>
            <a:r>
              <a:rPr lang="en-GB" sz="1600" dirty="0"/>
              <a:t>: supporting, monitoring and assessing the community engagement of universities.</a:t>
            </a:r>
          </a:p>
          <a:p>
            <a:r>
              <a:rPr lang="en-GB" sz="1600" dirty="0"/>
              <a:t>Strategic process to strengthen community engagement</a:t>
            </a:r>
          </a:p>
          <a:p>
            <a:pPr marL="457200" lvl="1" indent="0">
              <a:spcBef>
                <a:spcPts val="300"/>
              </a:spcBef>
              <a:buNone/>
            </a:pPr>
            <a:r>
              <a:rPr lang="en-GB" sz="1400" dirty="0"/>
              <a:t>Step 1 Quick Scan</a:t>
            </a:r>
          </a:p>
          <a:p>
            <a:pPr marL="457200" lvl="1" indent="0">
              <a:spcBef>
                <a:spcPts val="300"/>
              </a:spcBef>
              <a:buNone/>
            </a:pPr>
            <a:r>
              <a:rPr lang="en-GB" sz="1400" dirty="0"/>
              <a:t>Step 2 Evidence collection</a:t>
            </a:r>
          </a:p>
          <a:p>
            <a:pPr marL="457200" lvl="1" indent="0">
              <a:spcBef>
                <a:spcPts val="300"/>
              </a:spcBef>
              <a:buNone/>
            </a:pPr>
            <a:r>
              <a:rPr lang="en-GB" sz="1400" dirty="0"/>
              <a:t>Step 3 Mapping report</a:t>
            </a:r>
          </a:p>
          <a:p>
            <a:pPr marL="457200" lvl="1" indent="0">
              <a:spcBef>
                <a:spcPts val="300"/>
              </a:spcBef>
              <a:buNone/>
            </a:pPr>
            <a:r>
              <a:rPr lang="en-GB" sz="1400" dirty="0"/>
              <a:t>Step 4 Participative dialogue</a:t>
            </a:r>
          </a:p>
          <a:p>
            <a:pPr marL="457200" lvl="1" indent="0">
              <a:spcBef>
                <a:spcPts val="300"/>
              </a:spcBef>
              <a:buNone/>
            </a:pPr>
            <a:r>
              <a:rPr lang="en-GB" sz="1400" dirty="0"/>
              <a:t>Step 5 Institutional report</a:t>
            </a:r>
            <a:endParaRPr lang="nl-NL" sz="1400" dirty="0"/>
          </a:p>
          <a:p>
            <a:endParaRPr lang="nl-NL" sz="1600" dirty="0"/>
          </a:p>
        </p:txBody>
      </p:sp>
    </p:spTree>
    <p:extLst>
      <p:ext uri="{BB962C8B-B14F-4D97-AF65-F5344CB8AC3E}">
        <p14:creationId xmlns:p14="http://schemas.microsoft.com/office/powerpoint/2010/main" val="13626417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63D7B-782C-4981-A8FB-E78EF88753F4}"/>
              </a:ext>
            </a:extLst>
          </p:cNvPr>
          <p:cNvSpPr>
            <a:spLocks noGrp="1"/>
          </p:cNvSpPr>
          <p:nvPr>
            <p:ph type="title"/>
          </p:nvPr>
        </p:nvSpPr>
        <p:spPr/>
        <p:txBody>
          <a:bodyPr/>
          <a:lstStyle/>
          <a:p>
            <a:r>
              <a:rPr lang="en-GB" sz="3200" dirty="0"/>
              <a:t>Conclusions and…</a:t>
            </a:r>
            <a:endParaRPr lang="nl-NL" sz="3200" dirty="0"/>
          </a:p>
        </p:txBody>
      </p:sp>
      <p:sp>
        <p:nvSpPr>
          <p:cNvPr id="9" name="Content Placeholder 8">
            <a:extLst>
              <a:ext uri="{FF2B5EF4-FFF2-40B4-BE49-F238E27FC236}">
                <a16:creationId xmlns:a16="http://schemas.microsoft.com/office/drawing/2014/main" id="{25BD1996-B275-435C-AC27-810084CA99B2}"/>
              </a:ext>
            </a:extLst>
          </p:cNvPr>
          <p:cNvSpPr>
            <a:spLocks noGrp="1"/>
          </p:cNvSpPr>
          <p:nvPr>
            <p:ph sz="half" idx="1"/>
          </p:nvPr>
        </p:nvSpPr>
        <p:spPr>
          <a:xfrm>
            <a:off x="1265582" y="1990725"/>
            <a:ext cx="10515600" cy="1514475"/>
          </a:xfrm>
        </p:spPr>
        <p:txBody>
          <a:bodyPr/>
          <a:lstStyle/>
          <a:p>
            <a:r>
              <a:rPr lang="en-GB" sz="2400" dirty="0"/>
              <a:t>Assessing impact has become mature </a:t>
            </a:r>
          </a:p>
          <a:p>
            <a:r>
              <a:rPr lang="en-GB" sz="2400" dirty="0"/>
              <a:t>Effective impact assessment requires strategic commitment</a:t>
            </a:r>
          </a:p>
          <a:p>
            <a:r>
              <a:rPr lang="en-GB" sz="2400" dirty="0"/>
              <a:t>External linkages and perspectives are crucial</a:t>
            </a:r>
          </a:p>
          <a:p>
            <a:endParaRPr lang="en-GB" sz="2400" dirty="0"/>
          </a:p>
          <a:p>
            <a:endParaRPr lang="en-GB" sz="2400" dirty="0"/>
          </a:p>
          <a:p>
            <a:endParaRPr lang="nl-NL" sz="2400" dirty="0"/>
          </a:p>
        </p:txBody>
      </p:sp>
      <p:sp>
        <p:nvSpPr>
          <p:cNvPr id="6" name="Slide Number Placeholder 4">
            <a:extLst>
              <a:ext uri="{FF2B5EF4-FFF2-40B4-BE49-F238E27FC236}">
                <a16:creationId xmlns:a16="http://schemas.microsoft.com/office/drawing/2014/main" id="{7ECCF8A0-CAD5-4D27-8E90-3919866E4326}"/>
              </a:ext>
            </a:extLst>
          </p:cNvPr>
          <p:cNvSpPr txBox="1">
            <a:spLocks/>
          </p:cNvSpPr>
          <p:nvPr/>
        </p:nvSpPr>
        <p:spPr>
          <a:xfrm>
            <a:off x="11447252" y="6356350"/>
            <a:ext cx="352703"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9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9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
        <p:nvSpPr>
          <p:cNvPr id="7" name="Footer Placeholder 10">
            <a:extLst>
              <a:ext uri="{FF2B5EF4-FFF2-40B4-BE49-F238E27FC236}">
                <a16:creationId xmlns:a16="http://schemas.microsoft.com/office/drawing/2014/main" id="{100AF083-DB18-4470-A280-83F5CD38989D}"/>
              </a:ext>
            </a:extLst>
          </p:cNvPr>
          <p:cNvSpPr txBox="1">
            <a:spLocks/>
          </p:cNvSpPr>
          <p:nvPr/>
        </p:nvSpPr>
        <p:spPr>
          <a:xfrm>
            <a:off x="6720720" y="6405613"/>
            <a:ext cx="529249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69BC0"/>
                </a:solidFill>
                <a:effectLst/>
                <a:uLnTx/>
                <a:uFillTx/>
                <a:latin typeface="Arial" panose="020B0604020202020204"/>
                <a:ea typeface="+mn-ea"/>
                <a:cs typeface="+mn-cs"/>
              </a:rPr>
              <a:t>AESIS CONFERENCE 4-6 November 2020 | Krakow | Barend van der Meulen</a:t>
            </a:r>
          </a:p>
        </p:txBody>
      </p:sp>
      <p:sp>
        <p:nvSpPr>
          <p:cNvPr id="10" name="Title 1">
            <a:extLst>
              <a:ext uri="{FF2B5EF4-FFF2-40B4-BE49-F238E27FC236}">
                <a16:creationId xmlns:a16="http://schemas.microsoft.com/office/drawing/2014/main" id="{D71CDF50-D6E5-4B2C-8A3B-87ADB444B33E}"/>
              </a:ext>
            </a:extLst>
          </p:cNvPr>
          <p:cNvSpPr txBox="1">
            <a:spLocks/>
          </p:cNvSpPr>
          <p:nvPr/>
        </p:nvSpPr>
        <p:spPr>
          <a:xfrm>
            <a:off x="1417983" y="3716004"/>
            <a:ext cx="10515600" cy="712788"/>
          </a:xfrm>
          <a:prstGeom prst="rect">
            <a:avLst/>
          </a:prstGeom>
          <a:solidFill>
            <a:schemeClr val="bg1"/>
          </a:solidFill>
        </p:spPr>
        <p:txBody>
          <a:bodyPr/>
          <a:lstStyle>
            <a:lvl1pPr algn="l" defTabSz="914400" rtl="0" eaLnBrk="1" latinLnBrk="0" hangingPunct="1">
              <a:lnSpc>
                <a:spcPct val="90000"/>
              </a:lnSpc>
              <a:spcBef>
                <a:spcPct val="0"/>
              </a:spcBef>
              <a:buNone/>
              <a:defRPr sz="3600" b="1" i="0" kern="1200" cap="all" baseline="0">
                <a:solidFill>
                  <a:srgbClr val="469BC0"/>
                </a:solidFill>
                <a:latin typeface="Arial Narrow" panose="020B060602020203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all" spc="0" normalizeH="0" baseline="0" noProof="0" dirty="0">
                <a:ln>
                  <a:noFill/>
                </a:ln>
                <a:solidFill>
                  <a:srgbClr val="469BC0"/>
                </a:solidFill>
                <a:effectLst/>
                <a:uLnTx/>
                <a:uFillTx/>
                <a:latin typeface="Arial Narrow" panose="020B0606020202030204" pitchFamily="34" charset="0"/>
                <a:ea typeface="+mj-ea"/>
                <a:cs typeface="+mj-cs"/>
              </a:rPr>
              <a:t>…. and more to come</a:t>
            </a:r>
            <a:endParaRPr kumimoji="0" lang="nl-NL" sz="3200" b="1" i="0" u="none" strike="noStrike" kern="1200" cap="all" spc="0" normalizeH="0" baseline="0" noProof="0" dirty="0">
              <a:ln>
                <a:noFill/>
              </a:ln>
              <a:solidFill>
                <a:srgbClr val="469BC0"/>
              </a:solidFill>
              <a:effectLst/>
              <a:uLnTx/>
              <a:uFillTx/>
              <a:latin typeface="Arial Narrow" panose="020B0606020202030204" pitchFamily="34" charset="0"/>
              <a:ea typeface="+mj-ea"/>
              <a:cs typeface="+mj-cs"/>
            </a:endParaRPr>
          </a:p>
        </p:txBody>
      </p:sp>
      <p:sp>
        <p:nvSpPr>
          <p:cNvPr id="11" name="Content Placeholder 8">
            <a:extLst>
              <a:ext uri="{FF2B5EF4-FFF2-40B4-BE49-F238E27FC236}">
                <a16:creationId xmlns:a16="http://schemas.microsoft.com/office/drawing/2014/main" id="{B7BC7B68-B9C0-495C-8159-CB80F20129F2}"/>
              </a:ext>
            </a:extLst>
          </p:cNvPr>
          <p:cNvSpPr txBox="1">
            <a:spLocks/>
          </p:cNvSpPr>
          <p:nvPr/>
        </p:nvSpPr>
        <p:spPr>
          <a:xfrm>
            <a:off x="1265581" y="4409359"/>
            <a:ext cx="10668001" cy="1305642"/>
          </a:xfrm>
          <a:prstGeom prst="rect">
            <a:avLst/>
          </a:prstGeom>
          <a:solidFill>
            <a:schemeClr val="bg1"/>
          </a:solidFill>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rPr>
              <a:t>Heidi Van Rooyen. Impact Centre Human Sciences Research Council, South Afric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srgbClr val="000000"/>
                </a:solidFill>
                <a:effectLst/>
                <a:uLnTx/>
                <a:uFillTx/>
                <a:latin typeface="Arial" panose="020B0604020202020204"/>
                <a:ea typeface="+mn-ea"/>
                <a:cs typeface="+mn-cs"/>
              </a:rPr>
              <a:t>Pauline Tay.  Singapore Business Federation, chair Technology Productivity and Innovation 					| former </a:t>
            </a:r>
            <a:r>
              <a:rPr kumimoji="0" lang="en-GB" sz="1800" b="0" i="1" u="none" strike="noStrike" kern="1200" cap="none" spc="0" normalizeH="0" baseline="0" noProof="0" dirty="0">
                <a:ln>
                  <a:noFill/>
                </a:ln>
                <a:solidFill>
                  <a:srgbClr val="000000"/>
                </a:solidFill>
                <a:effectLst/>
                <a:uLnTx/>
                <a:uFillTx/>
                <a:latin typeface="Arial" panose="020B0604020202020204"/>
                <a:ea typeface="+mn-ea"/>
                <a:cs typeface="+mn-cs"/>
              </a:rPr>
              <a:t>National Research Foundation Singapore</a:t>
            </a:r>
            <a:endParaRPr kumimoji="0" lang="en-GB" sz="2400" b="0" i="1"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41060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B7AFBD4-7D39-4FF2-8073-CEA8CA034925}"/>
              </a:ext>
            </a:extLst>
          </p:cNvPr>
          <p:cNvSpPr>
            <a:spLocks noGrp="1"/>
          </p:cNvSpPr>
          <p:nvPr>
            <p:ph type="title"/>
          </p:nvPr>
        </p:nvSpPr>
        <p:spPr/>
        <p:txBody>
          <a:bodyPr/>
          <a:lstStyle/>
          <a:p>
            <a:r>
              <a:rPr lang="en-GB" dirty="0">
                <a:solidFill>
                  <a:srgbClr val="469BC0"/>
                </a:solidFill>
              </a:rPr>
              <a:t>Thank </a:t>
            </a:r>
            <a:r>
              <a:rPr lang="en-GB" dirty="0" err="1">
                <a:solidFill>
                  <a:srgbClr val="469BC0"/>
                </a:solidFill>
              </a:rPr>
              <a:t>YOu</a:t>
            </a:r>
            <a:endParaRPr lang="nl-NL" dirty="0">
              <a:solidFill>
                <a:srgbClr val="469BC0"/>
              </a:solidFill>
            </a:endParaRPr>
          </a:p>
        </p:txBody>
      </p:sp>
      <p:sp>
        <p:nvSpPr>
          <p:cNvPr id="9" name="Slide Number Placeholder 4">
            <a:extLst>
              <a:ext uri="{FF2B5EF4-FFF2-40B4-BE49-F238E27FC236}">
                <a16:creationId xmlns:a16="http://schemas.microsoft.com/office/drawing/2014/main" id="{21B2CB16-5AD5-42EF-9385-C8AB5148D7C4}"/>
              </a:ext>
            </a:extLst>
          </p:cNvPr>
          <p:cNvSpPr txBox="1">
            <a:spLocks/>
          </p:cNvSpPr>
          <p:nvPr/>
        </p:nvSpPr>
        <p:spPr>
          <a:xfrm>
            <a:off x="11447252" y="6356350"/>
            <a:ext cx="352703"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9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9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
        <p:nvSpPr>
          <p:cNvPr id="10" name="Footer Placeholder 10">
            <a:extLst>
              <a:ext uri="{FF2B5EF4-FFF2-40B4-BE49-F238E27FC236}">
                <a16:creationId xmlns:a16="http://schemas.microsoft.com/office/drawing/2014/main" id="{C6CBB82D-7111-4C23-84D9-69BEEB539566}"/>
              </a:ext>
            </a:extLst>
          </p:cNvPr>
          <p:cNvSpPr txBox="1">
            <a:spLocks/>
          </p:cNvSpPr>
          <p:nvPr/>
        </p:nvSpPr>
        <p:spPr>
          <a:xfrm>
            <a:off x="6720720" y="6405613"/>
            <a:ext cx="529249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69BC0"/>
                </a:solidFill>
                <a:effectLst/>
                <a:uLnTx/>
                <a:uFillTx/>
                <a:latin typeface="Arial" panose="020B0604020202020204"/>
                <a:ea typeface="+mn-ea"/>
                <a:cs typeface="+mn-cs"/>
              </a:rPr>
              <a:t>AESIS CONFERENCE 4-6 November 2020 | Krakow | Barend van der Meulen</a:t>
            </a:r>
          </a:p>
        </p:txBody>
      </p:sp>
      <p:sp>
        <p:nvSpPr>
          <p:cNvPr id="11" name="Footer Placeholder 10">
            <a:extLst>
              <a:ext uri="{FF2B5EF4-FFF2-40B4-BE49-F238E27FC236}">
                <a16:creationId xmlns:a16="http://schemas.microsoft.com/office/drawing/2014/main" id="{009BCCEE-AB11-4638-985C-59191C8418A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a:ln>
                  <a:noFill/>
                </a:ln>
                <a:solidFill>
                  <a:srgbClr val="469BC0"/>
                </a:solidFill>
                <a:effectLst/>
                <a:uLnTx/>
                <a:uFillTx/>
                <a:latin typeface="Arial" panose="020B0604020202020204" pitchFamily="34" charset="0"/>
                <a:ea typeface="+mn-ea"/>
                <a:cs typeface="+mn-cs"/>
              </a:rPr>
              <a:t>AESIS CONFERENCE 23-25 June 2020 | Cape Town | Barend van der Meulen</a:t>
            </a:r>
            <a:endParaRPr kumimoji="0" lang="en-GB" sz="1000" b="0" i="0" u="none" strike="noStrike" kern="1200" cap="all" spc="0" normalizeH="0" baseline="0" noProof="0" dirty="0">
              <a:ln>
                <a:noFill/>
              </a:ln>
              <a:solidFill>
                <a:srgbClr val="469BC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60335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endParaRPr lang="nl-NL" sz="3600" dirty="0">
              <a:latin typeface="Garamond" panose="02020404030301010803" pitchFamily="18" charset="0"/>
            </a:endParaRPr>
          </a:p>
          <a:p>
            <a:pPr algn="ctr">
              <a:spcAft>
                <a:spcPts val="1800"/>
              </a:spcAft>
            </a:pPr>
            <a:r>
              <a:rPr lang="nl-NL" sz="2900" b="1" dirty="0">
                <a:solidFill>
                  <a:srgbClr val="820000"/>
                </a:solidFill>
                <a:latin typeface="Garamond" panose="02020404030301010803" pitchFamily="18" charset="0"/>
              </a:rPr>
              <a:t>Heidi Van Rooyen  </a:t>
            </a:r>
          </a:p>
          <a:p>
            <a:pPr algn="ctr">
              <a:lnSpc>
                <a:spcPct val="134000"/>
              </a:lnSpc>
              <a:spcAft>
                <a:spcPts val="600"/>
              </a:spcAft>
            </a:pPr>
            <a:r>
              <a:rPr lang="en-AU" sz="2500" i="1" dirty="0">
                <a:latin typeface="Garamond" panose="02020404030301010803" pitchFamily="18" charset="0"/>
              </a:rPr>
              <a:t>Group Executive of the Impact Centre at the Human Sciences Research Council, South Africa </a:t>
            </a:r>
            <a:br>
              <a:rPr lang="nl-NL" sz="3600" dirty="0">
                <a:latin typeface="Garamond" panose="02020404030301010803" pitchFamily="18" charset="0"/>
              </a:rPr>
            </a:b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514044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204720" y="706071"/>
            <a:ext cx="7801544" cy="5078313"/>
          </a:xfrm>
          <a:prstGeom prst="rect">
            <a:avLst/>
          </a:prstGeom>
          <a:noFill/>
        </p:spPr>
        <p:txBody>
          <a:bodyPr wrap="square" rtlCol="0">
            <a:spAutoFit/>
          </a:bodyPr>
          <a:lstStyle/>
          <a:p>
            <a:pPr algn="ctr"/>
            <a:r>
              <a:rPr lang="en-ZA" sz="6600" dirty="0">
                <a:solidFill>
                  <a:prstClr val="white"/>
                </a:solidFill>
                <a:latin typeface="Calibri" panose="020F0502020204030204"/>
              </a:rPr>
              <a:t>IMPACT ASSESSMENT FOR EFFECTIVENESS </a:t>
            </a:r>
          </a:p>
          <a:p>
            <a:pPr algn="ctr"/>
            <a:endParaRPr lang="en-ZA" sz="2800" dirty="0">
              <a:solidFill>
                <a:prstClr val="white"/>
              </a:solidFill>
              <a:latin typeface="Calibri" panose="020F0502020204030204"/>
            </a:endParaRPr>
          </a:p>
          <a:p>
            <a:pPr algn="ctr"/>
            <a:endParaRPr lang="en-ZA" sz="2400" dirty="0">
              <a:solidFill>
                <a:srgbClr val="C3B69B"/>
              </a:solidFill>
              <a:latin typeface="Calibri" panose="020F0502020204030204"/>
            </a:endParaRPr>
          </a:p>
          <a:p>
            <a:pPr algn="ctr"/>
            <a:r>
              <a:rPr lang="en-ZA" sz="2400" dirty="0">
                <a:solidFill>
                  <a:srgbClr val="C3B69B"/>
                </a:solidFill>
                <a:latin typeface="Calibri" panose="020F0502020204030204"/>
              </a:rPr>
              <a:t>Professor Heidi van Rooyen</a:t>
            </a:r>
          </a:p>
          <a:p>
            <a:pPr algn="ctr"/>
            <a:r>
              <a:rPr lang="en-ZA" sz="2400" dirty="0">
                <a:solidFill>
                  <a:srgbClr val="C3B69B"/>
                </a:solidFill>
                <a:latin typeface="Calibri" panose="020F0502020204030204"/>
              </a:rPr>
              <a:t>Group Executive: Impact Centre</a:t>
            </a:r>
          </a:p>
          <a:p>
            <a:pPr algn="ctr"/>
            <a:r>
              <a:rPr lang="en-ZA" sz="2400" dirty="0">
                <a:solidFill>
                  <a:srgbClr val="C3B69B"/>
                </a:solidFill>
                <a:latin typeface="Calibri" panose="020F0502020204030204"/>
              </a:rPr>
              <a:t>Human Sciences Research Council </a:t>
            </a:r>
          </a:p>
          <a:p>
            <a:pPr algn="ctr"/>
            <a:r>
              <a:rPr lang="en-ZA" sz="2400" dirty="0">
                <a:solidFill>
                  <a:srgbClr val="C3B69B"/>
                </a:solidFill>
                <a:latin typeface="Calibri" panose="020F0502020204030204"/>
              </a:rPr>
              <a:t>Impact of Science  Conference: 23-25 June 2021 </a:t>
            </a:r>
          </a:p>
          <a:p>
            <a:pPr algn="ctr"/>
            <a:endParaRPr lang="en-ZA" sz="4400" dirty="0">
              <a:solidFill>
                <a:prstClr val="white"/>
              </a:solidFill>
              <a:latin typeface="Calibri" panose="020F0502020204030204"/>
            </a:endParaRPr>
          </a:p>
        </p:txBody>
      </p:sp>
      <p:cxnSp>
        <p:nvCxnSpPr>
          <p:cNvPr id="33" name="Straight Connector 32">
            <a:extLst>
              <a:ext uri="{FF2B5EF4-FFF2-40B4-BE49-F238E27FC236}">
                <a16:creationId xmlns:a16="http://schemas.microsoft.com/office/drawing/2014/main" id="{38788B21-93E6-4279-BC74-165D00D92C24}"/>
              </a:ext>
            </a:extLst>
          </p:cNvPr>
          <p:cNvCxnSpPr>
            <a:cxnSpLocks/>
          </p:cNvCxnSpPr>
          <p:nvPr/>
        </p:nvCxnSpPr>
        <p:spPr>
          <a:xfrm>
            <a:off x="3680595" y="2992121"/>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29274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24001" y="369871"/>
            <a:ext cx="9143999" cy="769441"/>
          </a:xfrm>
          <a:prstGeom prst="rect">
            <a:avLst/>
          </a:prstGeom>
          <a:noFill/>
        </p:spPr>
        <p:txBody>
          <a:bodyPr wrap="square" rtlCol="0">
            <a:spAutoFit/>
          </a:bodyPr>
          <a:lstStyle/>
          <a:p>
            <a:pPr algn="ctr"/>
            <a:r>
              <a:rPr lang="en-ZA" sz="4400" dirty="0">
                <a:solidFill>
                  <a:prstClr val="white"/>
                </a:solidFill>
                <a:latin typeface="Calibri" panose="020F0502020204030204"/>
              </a:rPr>
              <a:t>Presentation overview</a:t>
            </a:r>
          </a:p>
        </p:txBody>
      </p:sp>
      <p:grpSp>
        <p:nvGrpSpPr>
          <p:cNvPr id="2" name="Group 1">
            <a:extLst>
              <a:ext uri="{FF2B5EF4-FFF2-40B4-BE49-F238E27FC236}">
                <a16:creationId xmlns:a16="http://schemas.microsoft.com/office/drawing/2014/main" id="{97CD5C7B-9B09-446F-8061-625B339B2398}"/>
              </a:ext>
            </a:extLst>
          </p:cNvPr>
          <p:cNvGrpSpPr/>
          <p:nvPr/>
        </p:nvGrpSpPr>
        <p:grpSpPr>
          <a:xfrm>
            <a:off x="4318572" y="1530851"/>
            <a:ext cx="5835721" cy="4063828"/>
            <a:chOff x="2756068" y="1339874"/>
            <a:chExt cx="4988642" cy="2785585"/>
          </a:xfrm>
        </p:grpSpPr>
        <p:grpSp>
          <p:nvGrpSpPr>
            <p:cNvPr id="153" name="Group 152"/>
            <p:cNvGrpSpPr/>
            <p:nvPr/>
          </p:nvGrpSpPr>
          <p:grpSpPr>
            <a:xfrm>
              <a:off x="2756068" y="1339874"/>
              <a:ext cx="4966520" cy="404007"/>
              <a:chOff x="4085303" y="1429358"/>
              <a:chExt cx="6622026" cy="1218121"/>
            </a:xfrm>
          </p:grpSpPr>
          <p:sp>
            <p:nvSpPr>
              <p:cNvPr id="145" name="Rectangle 144"/>
              <p:cNvSpPr/>
              <p:nvPr/>
            </p:nvSpPr>
            <p:spPr>
              <a:xfrm>
                <a:off x="4114799" y="1596382"/>
                <a:ext cx="6592530" cy="1047138"/>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ZA" dirty="0">
                    <a:solidFill>
                      <a:prstClr val="black"/>
                    </a:solidFill>
                    <a:latin typeface="Calibri" panose="020F0502020204030204"/>
                  </a:rPr>
                  <a:t>Why Impact</a:t>
                </a:r>
              </a:p>
            </p:txBody>
          </p:sp>
          <p:sp>
            <p:nvSpPr>
              <p:cNvPr id="149" name="Right Triangle 148"/>
              <p:cNvSpPr/>
              <p:nvPr/>
            </p:nvSpPr>
            <p:spPr>
              <a:xfrm rot="5400000">
                <a:off x="3893574" y="1821568"/>
                <a:ext cx="1047136" cy="604685"/>
              </a:xfrm>
              <a:prstGeom prst="rtTriangle">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latin typeface="Calibri" panose="020F0502020204030204"/>
                </a:endParaRPr>
              </a:p>
            </p:txBody>
          </p:sp>
          <p:sp>
            <p:nvSpPr>
              <p:cNvPr id="151" name="TextBox 150"/>
              <p:cNvSpPr txBox="1"/>
              <p:nvPr/>
            </p:nvSpPr>
            <p:spPr>
              <a:xfrm>
                <a:off x="4085303" y="1429358"/>
                <a:ext cx="427704" cy="620187"/>
              </a:xfrm>
              <a:prstGeom prst="rect">
                <a:avLst/>
              </a:prstGeom>
              <a:noFill/>
            </p:spPr>
            <p:txBody>
              <a:bodyPr wrap="square" rtlCol="0">
                <a:spAutoFit/>
              </a:bodyPr>
              <a:lstStyle/>
              <a:p>
                <a:pPr algn="ctr"/>
                <a:r>
                  <a:rPr lang="en-ZA" sz="1350" dirty="0">
                    <a:solidFill>
                      <a:prstClr val="black"/>
                    </a:solidFill>
                    <a:latin typeface="Calibri" panose="020F0502020204030204"/>
                  </a:rPr>
                  <a:t>1</a:t>
                </a:r>
              </a:p>
            </p:txBody>
          </p:sp>
        </p:grpSp>
        <p:grpSp>
          <p:nvGrpSpPr>
            <p:cNvPr id="158" name="Group 157"/>
            <p:cNvGrpSpPr/>
            <p:nvPr/>
          </p:nvGrpSpPr>
          <p:grpSpPr>
            <a:xfrm>
              <a:off x="2767129" y="1894161"/>
              <a:ext cx="4966520" cy="382740"/>
              <a:chOff x="4085303" y="1707192"/>
              <a:chExt cx="6622026" cy="1153997"/>
            </a:xfrm>
          </p:grpSpPr>
          <p:sp>
            <p:nvSpPr>
              <p:cNvPr id="159" name="Rectangle 158"/>
              <p:cNvSpPr/>
              <p:nvPr/>
            </p:nvSpPr>
            <p:spPr>
              <a:xfrm>
                <a:off x="4114799" y="1814051"/>
                <a:ext cx="6592530" cy="104713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ZA" dirty="0">
                    <a:solidFill>
                      <a:prstClr val="black"/>
                    </a:solidFill>
                    <a:latin typeface="Calibri" panose="020F0502020204030204"/>
                  </a:rPr>
                  <a:t>Social Science and Humanities </a:t>
                </a:r>
              </a:p>
            </p:txBody>
          </p:sp>
          <p:sp>
            <p:nvSpPr>
              <p:cNvPr id="160" name="Right Triangle 159"/>
              <p:cNvSpPr/>
              <p:nvPr/>
            </p:nvSpPr>
            <p:spPr>
              <a:xfrm rot="5400000">
                <a:off x="3893574" y="2035278"/>
                <a:ext cx="1047136" cy="604685"/>
              </a:xfrm>
              <a:prstGeom prst="rtTriangle">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latin typeface="Calibri" panose="020F0502020204030204"/>
                </a:endParaRPr>
              </a:p>
            </p:txBody>
          </p:sp>
          <p:sp>
            <p:nvSpPr>
              <p:cNvPr id="161" name="TextBox 160"/>
              <p:cNvSpPr txBox="1"/>
              <p:nvPr/>
            </p:nvSpPr>
            <p:spPr>
              <a:xfrm>
                <a:off x="4085303" y="1707192"/>
                <a:ext cx="427704" cy="620186"/>
              </a:xfrm>
              <a:prstGeom prst="rect">
                <a:avLst/>
              </a:prstGeom>
              <a:noFill/>
            </p:spPr>
            <p:txBody>
              <a:bodyPr wrap="square" rtlCol="0">
                <a:spAutoFit/>
              </a:bodyPr>
              <a:lstStyle/>
              <a:p>
                <a:pPr algn="ctr"/>
                <a:r>
                  <a:rPr lang="en-ZA" sz="1350" dirty="0">
                    <a:solidFill>
                      <a:prstClr val="black"/>
                    </a:solidFill>
                    <a:latin typeface="Calibri" panose="020F0502020204030204"/>
                  </a:rPr>
                  <a:t>2</a:t>
                </a:r>
              </a:p>
            </p:txBody>
          </p:sp>
        </p:grpSp>
        <p:grpSp>
          <p:nvGrpSpPr>
            <p:cNvPr id="162" name="Group 161"/>
            <p:cNvGrpSpPr/>
            <p:nvPr/>
          </p:nvGrpSpPr>
          <p:grpSpPr>
            <a:xfrm>
              <a:off x="2756068" y="2356301"/>
              <a:ext cx="4966520" cy="382740"/>
              <a:chOff x="4085303" y="1707192"/>
              <a:chExt cx="6622026" cy="1153997"/>
            </a:xfrm>
          </p:grpSpPr>
          <p:sp>
            <p:nvSpPr>
              <p:cNvPr id="163" name="Rectangle 162"/>
              <p:cNvSpPr/>
              <p:nvPr/>
            </p:nvSpPr>
            <p:spPr>
              <a:xfrm>
                <a:off x="4114799" y="1814051"/>
                <a:ext cx="6592530" cy="104713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ZA" dirty="0">
                    <a:solidFill>
                      <a:prstClr val="black"/>
                    </a:solidFill>
                    <a:latin typeface="Calibri" panose="020F0502020204030204"/>
                  </a:rPr>
                  <a:t>HSRC Mandate </a:t>
                </a:r>
              </a:p>
            </p:txBody>
          </p:sp>
          <p:sp>
            <p:nvSpPr>
              <p:cNvPr id="164" name="Right Triangle 163"/>
              <p:cNvSpPr/>
              <p:nvPr/>
            </p:nvSpPr>
            <p:spPr>
              <a:xfrm rot="5400000">
                <a:off x="3893574" y="2035278"/>
                <a:ext cx="1047136" cy="604685"/>
              </a:xfrm>
              <a:prstGeom prst="rtTriangle">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latin typeface="Calibri" panose="020F0502020204030204"/>
                </a:endParaRPr>
              </a:p>
            </p:txBody>
          </p:sp>
          <p:sp>
            <p:nvSpPr>
              <p:cNvPr id="165" name="TextBox 164"/>
              <p:cNvSpPr txBox="1"/>
              <p:nvPr/>
            </p:nvSpPr>
            <p:spPr>
              <a:xfrm>
                <a:off x="4085303" y="1707192"/>
                <a:ext cx="427704" cy="620186"/>
              </a:xfrm>
              <a:prstGeom prst="rect">
                <a:avLst/>
              </a:prstGeom>
              <a:noFill/>
            </p:spPr>
            <p:txBody>
              <a:bodyPr wrap="square" rtlCol="0">
                <a:spAutoFit/>
              </a:bodyPr>
              <a:lstStyle/>
              <a:p>
                <a:pPr algn="ctr"/>
                <a:r>
                  <a:rPr lang="en-ZA" sz="1350" dirty="0">
                    <a:solidFill>
                      <a:prstClr val="black"/>
                    </a:solidFill>
                    <a:latin typeface="Calibri" panose="020F0502020204030204"/>
                  </a:rPr>
                  <a:t>3</a:t>
                </a:r>
              </a:p>
            </p:txBody>
          </p:sp>
        </p:grpSp>
        <p:grpSp>
          <p:nvGrpSpPr>
            <p:cNvPr id="166" name="Group 165"/>
            <p:cNvGrpSpPr/>
            <p:nvPr/>
          </p:nvGrpSpPr>
          <p:grpSpPr>
            <a:xfrm>
              <a:off x="2756068" y="2818440"/>
              <a:ext cx="4966520" cy="382740"/>
              <a:chOff x="4085303" y="1707192"/>
              <a:chExt cx="6622026" cy="1153997"/>
            </a:xfrm>
          </p:grpSpPr>
          <p:sp>
            <p:nvSpPr>
              <p:cNvPr id="167" name="Rectangle 166"/>
              <p:cNvSpPr/>
              <p:nvPr/>
            </p:nvSpPr>
            <p:spPr>
              <a:xfrm>
                <a:off x="4114799" y="1814051"/>
                <a:ext cx="6592530" cy="104713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ZA" dirty="0">
                    <a:solidFill>
                      <a:prstClr val="black"/>
                    </a:solidFill>
                    <a:latin typeface="Calibri" panose="020F0502020204030204"/>
                  </a:rPr>
                  <a:t>Challenges to Impact in the SSH </a:t>
                </a:r>
              </a:p>
            </p:txBody>
          </p:sp>
          <p:sp>
            <p:nvSpPr>
              <p:cNvPr id="168" name="Right Triangle 167"/>
              <p:cNvSpPr/>
              <p:nvPr/>
            </p:nvSpPr>
            <p:spPr>
              <a:xfrm rot="5400000">
                <a:off x="3893574" y="2035278"/>
                <a:ext cx="1047136" cy="604685"/>
              </a:xfrm>
              <a:prstGeom prst="rtTriangle">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latin typeface="Calibri" panose="020F0502020204030204"/>
                </a:endParaRPr>
              </a:p>
            </p:txBody>
          </p:sp>
          <p:sp>
            <p:nvSpPr>
              <p:cNvPr id="169" name="TextBox 168"/>
              <p:cNvSpPr txBox="1"/>
              <p:nvPr/>
            </p:nvSpPr>
            <p:spPr>
              <a:xfrm>
                <a:off x="4085303" y="1707192"/>
                <a:ext cx="427704" cy="620186"/>
              </a:xfrm>
              <a:prstGeom prst="rect">
                <a:avLst/>
              </a:prstGeom>
              <a:noFill/>
            </p:spPr>
            <p:txBody>
              <a:bodyPr wrap="square" rtlCol="0">
                <a:spAutoFit/>
              </a:bodyPr>
              <a:lstStyle/>
              <a:p>
                <a:pPr algn="ctr"/>
                <a:r>
                  <a:rPr lang="en-ZA" sz="1350" dirty="0">
                    <a:solidFill>
                      <a:prstClr val="black"/>
                    </a:solidFill>
                    <a:latin typeface="Calibri" panose="020F0502020204030204"/>
                  </a:rPr>
                  <a:t>4</a:t>
                </a:r>
              </a:p>
            </p:txBody>
          </p:sp>
        </p:grpSp>
        <p:grpSp>
          <p:nvGrpSpPr>
            <p:cNvPr id="170" name="Group 169"/>
            <p:cNvGrpSpPr/>
            <p:nvPr/>
          </p:nvGrpSpPr>
          <p:grpSpPr>
            <a:xfrm>
              <a:off x="2756068" y="3266404"/>
              <a:ext cx="4966520" cy="396916"/>
              <a:chOff x="4085303" y="1664450"/>
              <a:chExt cx="6622026" cy="1196739"/>
            </a:xfrm>
          </p:grpSpPr>
          <p:sp>
            <p:nvSpPr>
              <p:cNvPr id="171" name="Rectangle 170"/>
              <p:cNvSpPr/>
              <p:nvPr/>
            </p:nvSpPr>
            <p:spPr>
              <a:xfrm>
                <a:off x="4114799" y="1814051"/>
                <a:ext cx="6592530" cy="104713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ZA" dirty="0">
                    <a:solidFill>
                      <a:prstClr val="black"/>
                    </a:solidFill>
                    <a:latin typeface="Calibri" panose="020F0502020204030204"/>
                  </a:rPr>
                  <a:t>The HSRC’s Impact Centre </a:t>
                </a:r>
              </a:p>
            </p:txBody>
          </p:sp>
          <p:sp>
            <p:nvSpPr>
              <p:cNvPr id="172" name="Right Triangle 171"/>
              <p:cNvSpPr/>
              <p:nvPr/>
            </p:nvSpPr>
            <p:spPr>
              <a:xfrm rot="5400000">
                <a:off x="3893574" y="2035278"/>
                <a:ext cx="1047136" cy="604685"/>
              </a:xfrm>
              <a:prstGeom prst="rtTriangle">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latin typeface="Calibri" panose="020F0502020204030204"/>
                </a:endParaRPr>
              </a:p>
            </p:txBody>
          </p:sp>
          <p:sp>
            <p:nvSpPr>
              <p:cNvPr id="173" name="TextBox 172"/>
              <p:cNvSpPr txBox="1"/>
              <p:nvPr/>
            </p:nvSpPr>
            <p:spPr>
              <a:xfrm>
                <a:off x="4085303" y="1664450"/>
                <a:ext cx="427704" cy="620186"/>
              </a:xfrm>
              <a:prstGeom prst="rect">
                <a:avLst/>
              </a:prstGeom>
              <a:noFill/>
            </p:spPr>
            <p:txBody>
              <a:bodyPr wrap="square" rtlCol="0">
                <a:spAutoFit/>
              </a:bodyPr>
              <a:lstStyle/>
              <a:p>
                <a:pPr algn="ctr"/>
                <a:r>
                  <a:rPr lang="en-ZA" sz="1350" dirty="0">
                    <a:solidFill>
                      <a:prstClr val="black"/>
                    </a:solidFill>
                    <a:latin typeface="Calibri" panose="020F0502020204030204"/>
                  </a:rPr>
                  <a:t>5</a:t>
                </a:r>
              </a:p>
            </p:txBody>
          </p:sp>
        </p:grpSp>
        <p:grpSp>
          <p:nvGrpSpPr>
            <p:cNvPr id="174" name="Group 173"/>
            <p:cNvGrpSpPr/>
            <p:nvPr/>
          </p:nvGrpSpPr>
          <p:grpSpPr>
            <a:xfrm>
              <a:off x="2778190" y="3721455"/>
              <a:ext cx="4966520" cy="404004"/>
              <a:chOff x="4085303" y="1643079"/>
              <a:chExt cx="6622026" cy="1218110"/>
            </a:xfrm>
          </p:grpSpPr>
          <p:sp>
            <p:nvSpPr>
              <p:cNvPr id="175" name="Rectangle 174"/>
              <p:cNvSpPr/>
              <p:nvPr/>
            </p:nvSpPr>
            <p:spPr>
              <a:xfrm>
                <a:off x="4114799" y="1814051"/>
                <a:ext cx="6592530" cy="1047136"/>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6"/>
              </a:lnRef>
              <a:fillRef idx="1">
                <a:schemeClr val="lt1"/>
              </a:fillRef>
              <a:effectRef idx="0">
                <a:schemeClr val="accent6"/>
              </a:effectRef>
              <a:fontRef idx="minor">
                <a:schemeClr val="dk1"/>
              </a:fontRef>
            </p:style>
            <p:txBody>
              <a:bodyPr rtlCol="0" anchor="ctr"/>
              <a:lstStyle/>
              <a:p>
                <a:pPr algn="ctr"/>
                <a:r>
                  <a:rPr lang="en-ZA" dirty="0">
                    <a:solidFill>
                      <a:prstClr val="black"/>
                    </a:solidFill>
                    <a:latin typeface="Calibri" panose="020F0502020204030204"/>
                  </a:rPr>
                  <a:t>Conclusions  </a:t>
                </a:r>
              </a:p>
            </p:txBody>
          </p:sp>
          <p:sp>
            <p:nvSpPr>
              <p:cNvPr id="176" name="Right Triangle 175"/>
              <p:cNvSpPr/>
              <p:nvPr/>
            </p:nvSpPr>
            <p:spPr>
              <a:xfrm rot="5400000">
                <a:off x="3893574" y="2035278"/>
                <a:ext cx="1047136" cy="604685"/>
              </a:xfrm>
              <a:prstGeom prst="rtTriangle">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solidFill>
                    <a:prstClr val="white"/>
                  </a:solidFill>
                  <a:latin typeface="Calibri" panose="020F0502020204030204"/>
                </a:endParaRPr>
              </a:p>
            </p:txBody>
          </p:sp>
          <p:sp>
            <p:nvSpPr>
              <p:cNvPr id="177" name="TextBox 176"/>
              <p:cNvSpPr txBox="1"/>
              <p:nvPr/>
            </p:nvSpPr>
            <p:spPr>
              <a:xfrm>
                <a:off x="4085303" y="1643079"/>
                <a:ext cx="427704" cy="620186"/>
              </a:xfrm>
              <a:prstGeom prst="rect">
                <a:avLst/>
              </a:prstGeom>
              <a:noFill/>
            </p:spPr>
            <p:txBody>
              <a:bodyPr wrap="square" rtlCol="0">
                <a:spAutoFit/>
              </a:bodyPr>
              <a:lstStyle/>
              <a:p>
                <a:pPr algn="ctr"/>
                <a:r>
                  <a:rPr lang="en-ZA" sz="1350" dirty="0">
                    <a:solidFill>
                      <a:prstClr val="black"/>
                    </a:solidFill>
                    <a:latin typeface="Calibri" panose="020F0502020204030204"/>
                  </a:rPr>
                  <a:t>6</a:t>
                </a:r>
              </a:p>
            </p:txBody>
          </p:sp>
        </p:grpSp>
      </p:grpSp>
      <p:cxnSp>
        <p:nvCxnSpPr>
          <p:cNvPr id="33" name="Straight Connector 32">
            <a:extLst>
              <a:ext uri="{FF2B5EF4-FFF2-40B4-BE49-F238E27FC236}">
                <a16:creationId xmlns:a16="http://schemas.microsoft.com/office/drawing/2014/main" id="{EFE023B6-97BF-4C3F-81B6-6380A6791CCD}"/>
              </a:ext>
            </a:extLst>
          </p:cNvPr>
          <p:cNvCxnSpPr>
            <a:cxnSpLocks/>
          </p:cNvCxnSpPr>
          <p:nvPr/>
        </p:nvCxnSpPr>
        <p:spPr>
          <a:xfrm>
            <a:off x="3629531" y="1263317"/>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73A83721-096B-47D3-A279-BE54B1AA8061}"/>
              </a:ext>
            </a:extLst>
          </p:cNvPr>
          <p:cNvPicPr>
            <a:picLocks noChangeAspect="1"/>
          </p:cNvPicPr>
          <p:nvPr/>
        </p:nvPicPr>
        <p:blipFill>
          <a:blip r:embed="rId2"/>
          <a:stretch>
            <a:fillRect/>
          </a:stretch>
        </p:blipFill>
        <p:spPr>
          <a:xfrm>
            <a:off x="1842651" y="1787240"/>
            <a:ext cx="2341418" cy="3567898"/>
          </a:xfrm>
          <a:prstGeom prst="rect">
            <a:avLst/>
          </a:prstGeom>
        </p:spPr>
      </p:pic>
    </p:spTree>
    <p:extLst>
      <p:ext uri="{BB962C8B-B14F-4D97-AF65-F5344CB8AC3E}">
        <p14:creationId xmlns:p14="http://schemas.microsoft.com/office/powerpoint/2010/main" val="27833813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8200" y="365125"/>
            <a:ext cx="10515600" cy="1325563"/>
          </a:xfrm>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159729"/>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pic>
        <p:nvPicPr>
          <p:cNvPr id="10" name="Afbeelding 9"/>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1" name="Rechthoek 10"/>
          <p:cNvSpPr/>
          <p:nvPr/>
        </p:nvSpPr>
        <p:spPr>
          <a:xfrm>
            <a:off x="35300" y="6722083"/>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cxnSp>
        <p:nvCxnSpPr>
          <p:cNvPr id="12" name="Straight Connector 12">
            <a:extLst>
              <a:ext uri="{FF2B5EF4-FFF2-40B4-BE49-F238E27FC236}">
                <a16:creationId xmlns:a16="http://schemas.microsoft.com/office/drawing/2014/main" id="{4D25E369-C5AE-4ABA-9CCF-2CF83B8DD8A4}"/>
              </a:ext>
            </a:extLst>
          </p:cNvPr>
          <p:cNvCxnSpPr>
            <a:cxnSpLocks/>
          </p:cNvCxnSpPr>
          <p:nvPr/>
        </p:nvCxnSpPr>
        <p:spPr>
          <a:xfrm flipH="1">
            <a:off x="4192960" y="1424093"/>
            <a:ext cx="7085" cy="4162732"/>
          </a:xfrm>
          <a:prstGeom prst="line">
            <a:avLst/>
          </a:prstGeom>
          <a:ln>
            <a:solidFill>
              <a:srgbClr val="820000"/>
            </a:solidFill>
          </a:ln>
        </p:spPr>
        <p:style>
          <a:lnRef idx="1">
            <a:schemeClr val="accent1"/>
          </a:lnRef>
          <a:fillRef idx="0">
            <a:schemeClr val="accent1"/>
          </a:fillRef>
          <a:effectRef idx="0">
            <a:schemeClr val="accent1"/>
          </a:effectRef>
          <a:fontRef idx="minor">
            <a:schemeClr val="tx1"/>
          </a:fontRef>
        </p:style>
      </p:cxnSp>
      <p:sp>
        <p:nvSpPr>
          <p:cNvPr id="13" name="Titel 1">
            <a:extLst>
              <a:ext uri="{FF2B5EF4-FFF2-40B4-BE49-F238E27FC236}">
                <a16:creationId xmlns:a16="http://schemas.microsoft.com/office/drawing/2014/main" id="{404D618C-8DC1-4E70-964C-A4D2BDC6C87E}"/>
              </a:ext>
            </a:extLst>
          </p:cNvPr>
          <p:cNvSpPr txBox="1">
            <a:spLocks/>
          </p:cNvSpPr>
          <p:nvPr/>
        </p:nvSpPr>
        <p:spPr>
          <a:xfrm>
            <a:off x="159535" y="1868277"/>
            <a:ext cx="3877903" cy="157381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nl-NL" sz="3200" dirty="0" err="1">
                <a:latin typeface="Garamond" panose="02020404030301010803" pitchFamily="18" charset="0"/>
              </a:rPr>
              <a:t>Overview</a:t>
            </a:r>
            <a:r>
              <a:rPr lang="nl-NL" sz="3200" dirty="0">
                <a:latin typeface="Garamond" panose="02020404030301010803" pitchFamily="18" charset="0"/>
              </a:rPr>
              <a:t> of </a:t>
            </a:r>
            <a:r>
              <a:rPr lang="nl-NL" sz="3200" dirty="0" err="1">
                <a:latin typeface="Garamond" panose="02020404030301010803" pitchFamily="18" charset="0"/>
              </a:rPr>
              <a:t>the</a:t>
            </a:r>
            <a:r>
              <a:rPr lang="nl-NL" sz="3200" dirty="0">
                <a:latin typeface="Garamond" panose="02020404030301010803" pitchFamily="18" charset="0"/>
              </a:rPr>
              <a:t> Speakers </a:t>
            </a:r>
          </a:p>
        </p:txBody>
      </p:sp>
      <p:sp>
        <p:nvSpPr>
          <p:cNvPr id="14" name="Titel 1">
            <a:extLst>
              <a:ext uri="{FF2B5EF4-FFF2-40B4-BE49-F238E27FC236}">
                <a16:creationId xmlns:a16="http://schemas.microsoft.com/office/drawing/2014/main" id="{31471658-A8A7-4BE1-8395-B84ED09C585E}"/>
              </a:ext>
            </a:extLst>
          </p:cNvPr>
          <p:cNvSpPr txBox="1">
            <a:spLocks/>
          </p:cNvSpPr>
          <p:nvPr/>
        </p:nvSpPr>
        <p:spPr>
          <a:xfrm>
            <a:off x="4400689" y="809758"/>
            <a:ext cx="7602326" cy="5840217"/>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14000"/>
              </a:lnSpc>
              <a:spcBef>
                <a:spcPts val="0"/>
              </a:spcBef>
            </a:pPr>
            <a:r>
              <a:rPr lang="en-US" sz="1600" b="1" dirty="0">
                <a:solidFill>
                  <a:srgbClr val="820000"/>
                </a:solidFill>
                <a:latin typeface="Garamond" panose="02020404030301010803" pitchFamily="18" charset="0"/>
              </a:rPr>
              <a:t>Barend van der </a:t>
            </a:r>
            <a:r>
              <a:rPr lang="en-US" sz="1600" b="1" dirty="0" err="1">
                <a:solidFill>
                  <a:srgbClr val="820000"/>
                </a:solidFill>
                <a:latin typeface="Garamond" panose="02020404030301010803" pitchFamily="18" charset="0"/>
              </a:rPr>
              <a:t>Meulen</a:t>
            </a:r>
            <a:r>
              <a:rPr lang="en-US" sz="1600" b="1" dirty="0">
                <a:solidFill>
                  <a:srgbClr val="820000"/>
                </a:solidFill>
                <a:latin typeface="Garamond" panose="02020404030301010803" pitchFamily="18" charset="0"/>
              </a:rPr>
              <a:t> (Chair): </a:t>
            </a:r>
            <a:r>
              <a:rPr lang="en-AU" sz="1600" b="1" dirty="0">
                <a:solidFill>
                  <a:srgbClr val="820000"/>
                </a:solidFill>
                <a:latin typeface="Garamond" panose="02020404030301010803" pitchFamily="18" charset="0"/>
              </a:rPr>
              <a:t>Professor of Institutional Aspects of (Higher) Education, University of Twente, Netherlands </a:t>
            </a: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r>
              <a:rPr lang="en-US" sz="1600" b="1" dirty="0">
                <a:solidFill>
                  <a:srgbClr val="820000"/>
                </a:solidFill>
                <a:latin typeface="Garamond" panose="02020404030301010803" pitchFamily="18" charset="0"/>
              </a:rPr>
              <a:t>Heidi Van Rooyen: </a:t>
            </a:r>
            <a:r>
              <a:rPr lang="en-AU" sz="1600" b="1" dirty="0">
                <a:solidFill>
                  <a:srgbClr val="820000"/>
                </a:solidFill>
                <a:latin typeface="Garamond" panose="02020404030301010803" pitchFamily="18" charset="0"/>
              </a:rPr>
              <a:t>Group Executive of the Impact Centre at the Human Sciences Research Council, South Africa </a:t>
            </a: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r>
              <a:rPr lang="en-US" sz="1600" b="1" dirty="0">
                <a:solidFill>
                  <a:srgbClr val="820000"/>
                </a:solidFill>
                <a:latin typeface="Garamond" panose="02020404030301010803" pitchFamily="18" charset="0"/>
              </a:rPr>
              <a:t>Pauline Tay: </a:t>
            </a:r>
            <a:r>
              <a:rPr lang="en-AU" sz="1600" b="1" dirty="0">
                <a:solidFill>
                  <a:srgbClr val="820000"/>
                </a:solidFill>
                <a:latin typeface="Garamond" panose="02020404030301010803" pitchFamily="18" charset="0"/>
              </a:rPr>
              <a:t>Strategic Deputy Director Innovation and Enterprise/Strategy, National Research Foundation, Singapore </a:t>
            </a: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600" b="1" dirty="0">
              <a:solidFill>
                <a:srgbClr val="820000"/>
              </a:solidFill>
              <a:latin typeface="Garamond" panose="02020404030301010803" pitchFamily="18" charset="0"/>
            </a:endParaRPr>
          </a:p>
          <a:p>
            <a:pPr algn="l">
              <a:lnSpc>
                <a:spcPct val="114000"/>
              </a:lnSpc>
              <a:spcBef>
                <a:spcPts val="0"/>
              </a:spcBef>
            </a:pPr>
            <a:endParaRPr lang="en-US" sz="1700" b="1" dirty="0">
              <a:solidFill>
                <a:prstClr val="white">
                  <a:lumMod val="50000"/>
                </a:prstClr>
              </a:solidFill>
              <a:latin typeface="Garamond" panose="02020404030301010803" pitchFamily="18" charset="0"/>
            </a:endParaRPr>
          </a:p>
        </p:txBody>
      </p:sp>
      <p:sp>
        <p:nvSpPr>
          <p:cNvPr id="19" name="Tekstvak 5">
            <a:extLst>
              <a:ext uri="{FF2B5EF4-FFF2-40B4-BE49-F238E27FC236}">
                <a16:creationId xmlns:a16="http://schemas.microsoft.com/office/drawing/2014/main" id="{70E62050-A28B-4126-8D0F-059115A45AA4}"/>
              </a:ext>
            </a:extLst>
          </p:cNvPr>
          <p:cNvSpPr txBox="1">
            <a:spLocks/>
          </p:cNvSpPr>
          <p:nvPr/>
        </p:nvSpPr>
        <p:spPr>
          <a:xfrm>
            <a:off x="4521200" y="120802"/>
            <a:ext cx="7670800" cy="1077218"/>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a:p>
            <a:pPr lvl="0" algn="r"/>
            <a:endParaRPr lang="en-US" sz="2000" dirty="0">
              <a:solidFill>
                <a:prstClr val="black"/>
              </a:solidFill>
              <a:latin typeface="Garamond" panose="02020404030301010803" pitchFamily="18" charset="0"/>
            </a:endParaRPr>
          </a:p>
        </p:txBody>
      </p:sp>
      <p:sp>
        <p:nvSpPr>
          <p:cNvPr id="22" name="Tekstvak 14">
            <a:extLst>
              <a:ext uri="{FF2B5EF4-FFF2-40B4-BE49-F238E27FC236}">
                <a16:creationId xmlns:a16="http://schemas.microsoft.com/office/drawing/2014/main" id="{1185129F-A4DB-4302-A212-19D3111E1A32}"/>
              </a:ext>
            </a:extLst>
          </p:cNvPr>
          <p:cNvSpPr txBox="1"/>
          <p:nvPr/>
        </p:nvSpPr>
        <p:spPr>
          <a:xfrm>
            <a:off x="9620834" y="6234477"/>
            <a:ext cx="2478275" cy="830997"/>
          </a:xfrm>
          <a:prstGeom prst="rect">
            <a:avLst/>
          </a:prstGeom>
          <a:noFill/>
        </p:spPr>
        <p:txBody>
          <a:bodyPr wrap="square" rtlCol="0">
            <a:spAutoFit/>
          </a:bodyPr>
          <a:lstStyle/>
          <a:p>
            <a:pPr algn="r"/>
            <a:r>
              <a:rPr lang="nl-NL" sz="2400" b="1" dirty="0">
                <a:latin typeface="Garamond" panose="02020404030301010803" pitchFamily="18" charset="0"/>
              </a:rPr>
              <a:t>#IOS21</a:t>
            </a:r>
          </a:p>
          <a:p>
            <a:pPr algn="r"/>
            <a:endParaRPr lang="nl-NL" sz="2400" b="1" dirty="0">
              <a:latin typeface="Garamond" panose="02020404030301010803" pitchFamily="18" charset="0"/>
            </a:endParaRPr>
          </a:p>
        </p:txBody>
      </p:sp>
      <p:pic>
        <p:nvPicPr>
          <p:cNvPr id="6" name="Afbeelding 5">
            <a:extLst>
              <a:ext uri="{FF2B5EF4-FFF2-40B4-BE49-F238E27FC236}">
                <a16:creationId xmlns:a16="http://schemas.microsoft.com/office/drawing/2014/main" id="{17CD1743-BE5D-44FC-8A0F-4602AF6E21B7}"/>
              </a:ext>
            </a:extLst>
          </p:cNvPr>
          <p:cNvPicPr>
            <a:picLocks noChangeAspect="1"/>
          </p:cNvPicPr>
          <p:nvPr/>
        </p:nvPicPr>
        <p:blipFill>
          <a:blip r:embed="rId4"/>
          <a:stretch>
            <a:fillRect/>
          </a:stretch>
        </p:blipFill>
        <p:spPr>
          <a:xfrm>
            <a:off x="1155420" y="3130370"/>
            <a:ext cx="1998416" cy="2833575"/>
          </a:xfrm>
          <a:prstGeom prst="rect">
            <a:avLst/>
          </a:prstGeom>
        </p:spPr>
      </p:pic>
    </p:spTree>
    <p:extLst>
      <p:ext uri="{BB962C8B-B14F-4D97-AF65-F5344CB8AC3E}">
        <p14:creationId xmlns:p14="http://schemas.microsoft.com/office/powerpoint/2010/main" val="17738406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2">
            <a:extLst>
              <a:ext uri="{FF2B5EF4-FFF2-40B4-BE49-F238E27FC236}">
                <a16:creationId xmlns:a16="http://schemas.microsoft.com/office/drawing/2014/main" id="{83E45279-5B3C-41B8-8623-9A0AFFFB8F19}"/>
              </a:ext>
            </a:extLst>
          </p:cNvPr>
          <p:cNvSpPr txBox="1">
            <a:spLocks/>
          </p:cNvSpPr>
          <p:nvPr/>
        </p:nvSpPr>
        <p:spPr>
          <a:xfrm>
            <a:off x="1524000" y="0"/>
            <a:ext cx="9144000" cy="5856270"/>
          </a:xfrm>
          <a:prstGeom prst="rect">
            <a:avLst/>
          </a:prstGeom>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tabLst>
                <a:tab pos="457200" algn="l"/>
              </a:tabLst>
            </a:pPr>
            <a:r>
              <a:rPr lang="en-US" sz="3200" dirty="0">
                <a:solidFill>
                  <a:srgbClr val="C3B69B"/>
                </a:solidFill>
                <a:latin typeface="Calibri" panose="020F0502020204030204"/>
                <a:ea typeface="Calibri" panose="020F0502020204030204" pitchFamily="34" charset="0"/>
                <a:cs typeface="Times New Roman (Body CS)"/>
              </a:rPr>
              <a:t>Inward looking indices of academic impact no longer the ‘gold standard’. </a:t>
            </a:r>
          </a:p>
          <a:p>
            <a:pPr lvl="1">
              <a:spcBef>
                <a:spcPct val="20000"/>
              </a:spcBef>
              <a:defRPr/>
            </a:pPr>
            <a:r>
              <a:rPr lang="en-US" sz="1600" dirty="0">
                <a:solidFill>
                  <a:prstClr val="white"/>
                </a:solidFill>
                <a:latin typeface="Calibri" panose="020F0502020204030204"/>
                <a:cs typeface="Arial"/>
              </a:rPr>
              <a:t>Citations</a:t>
            </a:r>
          </a:p>
          <a:p>
            <a:pPr lvl="1">
              <a:spcBef>
                <a:spcPct val="20000"/>
              </a:spcBef>
              <a:defRPr/>
            </a:pPr>
            <a:r>
              <a:rPr lang="en-US" sz="1600" dirty="0">
                <a:solidFill>
                  <a:prstClr val="white"/>
                </a:solidFill>
                <a:latin typeface="Calibri" panose="020F0502020204030204"/>
                <a:cs typeface="Arial"/>
              </a:rPr>
              <a:t> Journal impact factor</a:t>
            </a:r>
          </a:p>
          <a:p>
            <a:pPr lvl="1">
              <a:spcBef>
                <a:spcPct val="20000"/>
              </a:spcBef>
              <a:defRPr/>
            </a:pPr>
            <a:r>
              <a:rPr lang="en-US" sz="1600" dirty="0">
                <a:solidFill>
                  <a:prstClr val="white"/>
                </a:solidFill>
                <a:latin typeface="Calibri" panose="020F0502020204030204"/>
                <a:cs typeface="Arial"/>
              </a:rPr>
              <a:t>Institutional prestige</a:t>
            </a:r>
          </a:p>
          <a:p>
            <a:pPr lvl="1">
              <a:spcBef>
                <a:spcPct val="20000"/>
              </a:spcBef>
              <a:defRPr/>
            </a:pPr>
            <a:r>
              <a:rPr lang="en-US" sz="1600" dirty="0">
                <a:solidFill>
                  <a:prstClr val="white"/>
                </a:solidFill>
                <a:latin typeface="Calibri" panose="020F0502020204030204"/>
                <a:cs typeface="Arial"/>
              </a:rPr>
              <a:t>Overvaluation of academic celebrities</a:t>
            </a:r>
          </a:p>
          <a:p>
            <a:pPr marL="0" indent="0">
              <a:buNone/>
              <a:tabLst>
                <a:tab pos="457200" algn="l"/>
              </a:tabLst>
            </a:pPr>
            <a:r>
              <a:rPr lang="en-ZA" sz="3200" dirty="0">
                <a:solidFill>
                  <a:srgbClr val="C3B69B"/>
                </a:solidFill>
                <a:latin typeface="Calibri" panose="020F0502020204030204"/>
                <a:ea typeface="Calibri" panose="020F0502020204030204" pitchFamily="34" charset="0"/>
                <a:cs typeface="Times New Roman (Body CS)"/>
              </a:rPr>
              <a:t>Neoliberalist measurement of the “value” of knowledge</a:t>
            </a:r>
          </a:p>
          <a:p>
            <a:pPr lvl="1">
              <a:tabLst>
                <a:tab pos="457200" algn="l"/>
              </a:tabLst>
            </a:pPr>
            <a:r>
              <a:rPr lang="en-ZA" sz="1600" dirty="0" err="1">
                <a:solidFill>
                  <a:prstClr val="white"/>
                </a:solidFill>
                <a:latin typeface="Calibri" panose="020F0502020204030204"/>
                <a:ea typeface="Calibri" panose="020F0502020204030204" pitchFamily="34" charset="0"/>
                <a:cs typeface="Times New Roman (Body CS)"/>
              </a:rPr>
              <a:t>Instrumentalisation</a:t>
            </a:r>
            <a:r>
              <a:rPr lang="en-ZA" sz="1600" dirty="0">
                <a:solidFill>
                  <a:prstClr val="white"/>
                </a:solidFill>
                <a:latin typeface="Calibri" panose="020F0502020204030204"/>
                <a:ea typeface="Calibri" panose="020F0502020204030204" pitchFamily="34" charset="0"/>
                <a:cs typeface="Times New Roman (Body CS)"/>
              </a:rPr>
              <a:t> of knowledge </a:t>
            </a:r>
          </a:p>
          <a:p>
            <a:pPr lvl="1">
              <a:tabLst>
                <a:tab pos="457200" algn="l"/>
              </a:tabLst>
            </a:pPr>
            <a:r>
              <a:rPr lang="en-ZA" sz="1600" dirty="0">
                <a:solidFill>
                  <a:prstClr val="white"/>
                </a:solidFill>
                <a:latin typeface="Calibri" panose="020F0502020204030204"/>
                <a:ea typeface="Calibri" panose="020F0502020204030204" pitchFamily="34" charset="0"/>
                <a:cs typeface="Times New Roman (Body CS)"/>
              </a:rPr>
              <a:t>Corporatisation of research institutions</a:t>
            </a:r>
          </a:p>
          <a:p>
            <a:pPr>
              <a:tabLst>
                <a:tab pos="457200" algn="l"/>
              </a:tabLst>
            </a:pPr>
            <a:r>
              <a:rPr lang="en-US" sz="3200" dirty="0">
                <a:solidFill>
                  <a:srgbClr val="C3B69B"/>
                </a:solidFill>
                <a:latin typeface="Calibri" panose="020F0502020204030204"/>
              </a:rPr>
              <a:t>Governments and funding agencies want and expect tangible change(s) in the real world.</a:t>
            </a:r>
          </a:p>
          <a:p>
            <a:pPr lvl="1">
              <a:tabLst>
                <a:tab pos="457200" algn="l"/>
              </a:tabLst>
            </a:pPr>
            <a:r>
              <a:rPr lang="en-ZA" sz="1600" dirty="0">
                <a:solidFill>
                  <a:prstClr val="white"/>
                </a:solidFill>
                <a:latin typeface="Calibri" panose="020F0502020204030204"/>
                <a:ea typeface="Calibri" panose="020F0502020204030204" pitchFamily="34" charset="0"/>
                <a:cs typeface="Times New Roman (Body CS)"/>
              </a:rPr>
              <a:t>Accountability</a:t>
            </a:r>
          </a:p>
          <a:p>
            <a:pPr lvl="1">
              <a:tabLst>
                <a:tab pos="457200" algn="l"/>
              </a:tabLst>
            </a:pPr>
            <a:r>
              <a:rPr lang="en-ZA" sz="1600" dirty="0">
                <a:solidFill>
                  <a:prstClr val="white"/>
                </a:solidFill>
                <a:latin typeface="Calibri" panose="020F0502020204030204"/>
                <a:ea typeface="Calibri" panose="020F0502020204030204" pitchFamily="34" charset="0"/>
                <a:cs typeface="Times New Roman (Body CS)"/>
              </a:rPr>
              <a:t>Globally competitive</a:t>
            </a:r>
          </a:p>
          <a:p>
            <a:pPr lvl="1">
              <a:tabLst>
                <a:tab pos="457200" algn="l"/>
              </a:tabLst>
            </a:pPr>
            <a:r>
              <a:rPr lang="en-ZA" sz="1600" dirty="0">
                <a:solidFill>
                  <a:prstClr val="white"/>
                </a:solidFill>
                <a:latin typeface="Calibri" panose="020F0502020204030204"/>
                <a:ea typeface="Calibri" panose="020F0502020204030204" pitchFamily="34" charset="0"/>
                <a:cs typeface="Times New Roman (Body CS)"/>
              </a:rPr>
              <a:t>Research excellence</a:t>
            </a:r>
          </a:p>
        </p:txBody>
      </p:sp>
    </p:spTree>
    <p:extLst>
      <p:ext uri="{BB962C8B-B14F-4D97-AF65-F5344CB8AC3E}">
        <p14:creationId xmlns:p14="http://schemas.microsoft.com/office/powerpoint/2010/main" val="34215406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DCAF5-DF0C-9B42-B37B-597A11B0D1FC}"/>
              </a:ext>
            </a:extLst>
          </p:cNvPr>
          <p:cNvSpPr>
            <a:spLocks noGrp="1"/>
          </p:cNvSpPr>
          <p:nvPr>
            <p:ph type="title"/>
          </p:nvPr>
        </p:nvSpPr>
        <p:spPr>
          <a:xfrm>
            <a:off x="1904144" y="246581"/>
            <a:ext cx="8568647" cy="1150705"/>
          </a:xfrm>
        </p:spPr>
        <p:txBody>
          <a:bodyPr>
            <a:noAutofit/>
          </a:bodyPr>
          <a:lstStyle/>
          <a:p>
            <a:r>
              <a:rPr lang="en-US" sz="3600" b="1" dirty="0">
                <a:solidFill>
                  <a:schemeClr val="bg1"/>
                </a:solidFill>
                <a:latin typeface="+mn-lt"/>
              </a:rPr>
              <a:t>Social Sciences and Humanities in South Africa</a:t>
            </a:r>
          </a:p>
        </p:txBody>
      </p:sp>
      <p:sp>
        <p:nvSpPr>
          <p:cNvPr id="3" name="Content Placeholder 2">
            <a:extLst>
              <a:ext uri="{FF2B5EF4-FFF2-40B4-BE49-F238E27FC236}">
                <a16:creationId xmlns:a16="http://schemas.microsoft.com/office/drawing/2014/main" id="{99AD2EC2-322B-C341-9B68-FD48A48C78A1}"/>
              </a:ext>
            </a:extLst>
          </p:cNvPr>
          <p:cNvSpPr>
            <a:spLocks noGrp="1"/>
          </p:cNvSpPr>
          <p:nvPr>
            <p:ph idx="1"/>
          </p:nvPr>
        </p:nvSpPr>
        <p:spPr>
          <a:xfrm>
            <a:off x="2152651" y="1397285"/>
            <a:ext cx="7929723" cy="4245962"/>
          </a:xfrm>
          <a:solidFill>
            <a:schemeClr val="bg1">
              <a:lumMod val="85000"/>
            </a:schemeClr>
          </a:solidFill>
        </p:spPr>
        <p:txBody>
          <a:bodyPr>
            <a:normAutofit lnSpcReduction="10000"/>
          </a:bodyPr>
          <a:lstStyle/>
          <a:p>
            <a:pPr marL="0" indent="0" algn="ctr">
              <a:lnSpc>
                <a:spcPct val="118000"/>
              </a:lnSpc>
              <a:buNone/>
            </a:pPr>
            <a:r>
              <a:rPr lang="en-US" sz="2000" dirty="0"/>
              <a:t>“Human and social scientists play a vital role in </a:t>
            </a:r>
            <a:r>
              <a:rPr lang="en-US" sz="2000" b="1" dirty="0"/>
              <a:t>providing critical analyses of national goals</a:t>
            </a:r>
            <a:r>
              <a:rPr lang="en-US" sz="2000" dirty="0"/>
              <a:t>, </a:t>
            </a:r>
            <a:r>
              <a:rPr lang="en-US" sz="2000" b="1" dirty="0"/>
              <a:t>choices about development policies and strategies</a:t>
            </a:r>
            <a:r>
              <a:rPr lang="en-US" sz="2000" dirty="0"/>
              <a:t>, and other national issues pertaining to the transformation of South African society. Their involvement is crucial to a</a:t>
            </a:r>
            <a:r>
              <a:rPr lang="en-US" sz="2000" b="1" dirty="0"/>
              <a:t> deeper understanding of social issues</a:t>
            </a:r>
            <a:r>
              <a:rPr lang="en-US" sz="2000" dirty="0"/>
              <a:t> and to </a:t>
            </a:r>
            <a:r>
              <a:rPr lang="en-US" sz="2000" b="1" dirty="0"/>
              <a:t>stimulating public debate </a:t>
            </a:r>
            <a:r>
              <a:rPr lang="en-US" sz="2000" dirty="0"/>
              <a:t>that could lead to a reconsideration of chosen paths. Equally important to any society that seeks to be innovative in its </a:t>
            </a:r>
            <a:r>
              <a:rPr lang="en-US" sz="2000" b="1" dirty="0"/>
              <a:t>response to the demands of global change </a:t>
            </a:r>
            <a:r>
              <a:rPr lang="en-US" sz="2000" dirty="0"/>
              <a:t>is social research that </a:t>
            </a:r>
            <a:r>
              <a:rPr lang="en-US" sz="2000" b="1" dirty="0"/>
              <a:t>identifies and explains global trends and their implications in political and economic life</a:t>
            </a:r>
            <a:r>
              <a:rPr lang="en-US" sz="2000" dirty="0"/>
              <a:t>, </a:t>
            </a:r>
            <a:r>
              <a:rPr lang="en-US" sz="2000" b="1" dirty="0"/>
              <a:t>communications and lifestyle changes</a:t>
            </a:r>
            <a:r>
              <a:rPr lang="en-US" sz="2000" dirty="0"/>
              <a:t>. Research in the social sciences is therefore of fundamental importance, particularly at this point in our history.” </a:t>
            </a:r>
          </a:p>
          <a:p>
            <a:pPr marL="0" indent="0" algn="ctr">
              <a:lnSpc>
                <a:spcPct val="118000"/>
              </a:lnSpc>
              <a:buNone/>
            </a:pPr>
            <a:r>
              <a:rPr lang="en-US" sz="1800" dirty="0"/>
              <a:t>(Science and Technology White Paper 1996) </a:t>
            </a:r>
          </a:p>
        </p:txBody>
      </p:sp>
    </p:spTree>
    <p:extLst>
      <p:ext uri="{BB962C8B-B14F-4D97-AF65-F5344CB8AC3E}">
        <p14:creationId xmlns:p14="http://schemas.microsoft.com/office/powerpoint/2010/main" val="4472569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p:cNvGraphicFramePr>
            <a:graphicFrameLocks noGrp="1"/>
          </p:cNvGraphicFramePr>
          <p:nvPr>
            <p:extLst/>
          </p:nvPr>
        </p:nvGraphicFramePr>
        <p:xfrm>
          <a:off x="1760045" y="1321392"/>
          <a:ext cx="8653668" cy="4643547"/>
        </p:xfrm>
        <a:graphic>
          <a:graphicData uri="http://schemas.openxmlformats.org/drawingml/2006/table">
            <a:tbl>
              <a:tblPr firstRow="1" bandRow="1">
                <a:tableStyleId>{5C22544A-7EE6-4342-B048-85BDC9FD1C3A}</a:tableStyleId>
              </a:tblPr>
              <a:tblGrid>
                <a:gridCol w="2884556">
                  <a:extLst>
                    <a:ext uri="{9D8B030D-6E8A-4147-A177-3AD203B41FA5}">
                      <a16:colId xmlns:a16="http://schemas.microsoft.com/office/drawing/2014/main" val="2833792473"/>
                    </a:ext>
                  </a:extLst>
                </a:gridCol>
                <a:gridCol w="2884556">
                  <a:extLst>
                    <a:ext uri="{9D8B030D-6E8A-4147-A177-3AD203B41FA5}">
                      <a16:colId xmlns:a16="http://schemas.microsoft.com/office/drawing/2014/main" val="1381395755"/>
                    </a:ext>
                  </a:extLst>
                </a:gridCol>
                <a:gridCol w="2884556">
                  <a:extLst>
                    <a:ext uri="{9D8B030D-6E8A-4147-A177-3AD203B41FA5}">
                      <a16:colId xmlns:a16="http://schemas.microsoft.com/office/drawing/2014/main" val="805051711"/>
                    </a:ext>
                  </a:extLst>
                </a:gridCol>
              </a:tblGrid>
              <a:tr h="1581807">
                <a:tc>
                  <a:txBody>
                    <a:bodyPr/>
                    <a:lstStyle/>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endParaRPr lang="en-US" sz="1400" b="0" i="0" dirty="0">
                        <a:solidFill>
                          <a:schemeClr val="bg1"/>
                        </a:solidFill>
                        <a:latin typeface="Calibri" panose="020F0502020204030204" pitchFamily="34" charset="0"/>
                        <a:cs typeface="Calibri" panose="020F0502020204030204" pitchFamily="34" charset="0"/>
                      </a:endParaRPr>
                    </a:p>
                    <a:p>
                      <a:pPr algn="ctr"/>
                      <a:r>
                        <a:rPr lang="en-US" sz="1600" b="0" i="0" dirty="0">
                          <a:solidFill>
                            <a:schemeClr val="bg1"/>
                          </a:solidFill>
                          <a:latin typeface="Calibri" panose="020F0502020204030204" pitchFamily="34" charset="0"/>
                          <a:cs typeface="Calibri" panose="020F0502020204030204" pitchFamily="34" charset="0"/>
                        </a:rPr>
                        <a:t>Initiate, undertake and foster strategic basic and applied research in human sciences</a:t>
                      </a:r>
                      <a:endParaRPr lang="en-ZA" sz="1600" b="0" i="0" dirty="0">
                        <a:solidFill>
                          <a:schemeClr val="bg1"/>
                        </a:solidFill>
                        <a:latin typeface="Calibri" panose="020F0502020204030204" pitchFamily="34" charset="0"/>
                        <a:cs typeface="Calibri" panose="020F0502020204030204" pitchFamily="34" charset="0"/>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endParaRPr lang="en-US" sz="1400" b="0" i="0" dirty="0">
                        <a:solidFill>
                          <a:schemeClr val="bg1"/>
                        </a:solidFill>
                        <a:latin typeface="Calibri" panose="020F0502020204030204" pitchFamily="34" charset="0"/>
                        <a:cs typeface="Calibri" panose="020F0502020204030204" pitchFamily="34" charset="0"/>
                      </a:endParaRPr>
                    </a:p>
                    <a:p>
                      <a:pPr algn="ctr"/>
                      <a:r>
                        <a:rPr lang="en-US" sz="1600" b="0" i="0" dirty="0">
                          <a:solidFill>
                            <a:schemeClr val="bg1"/>
                          </a:solidFill>
                          <a:latin typeface="Calibri" panose="020F0502020204030204" pitchFamily="34" charset="0"/>
                          <a:cs typeface="Calibri" panose="020F0502020204030204" pitchFamily="34" charset="0"/>
                        </a:rPr>
                        <a:t>Address developmental challenges by means of projects linked to public sector-oriented collaborative programmes</a:t>
                      </a:r>
                      <a:endParaRPr lang="en-ZA" sz="1600" b="0" i="0" dirty="0">
                        <a:solidFill>
                          <a:schemeClr val="bg1"/>
                        </a:solidFill>
                        <a:latin typeface="Calibri" panose="020F0502020204030204" pitchFamily="34" charset="0"/>
                        <a:cs typeface="Calibri" panose="020F0502020204030204" pitchFamily="34" charset="0"/>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endParaRPr lang="en-US" sz="1100" b="0" i="0" dirty="0">
                        <a:solidFill>
                          <a:schemeClr val="bg1"/>
                        </a:solidFill>
                        <a:latin typeface="Calibri" panose="020F0502020204030204" pitchFamily="34" charset="0"/>
                        <a:cs typeface="Calibri" panose="020F0502020204030204" pitchFamily="34" charset="0"/>
                      </a:endParaRPr>
                    </a:p>
                    <a:p>
                      <a:pPr algn="ctr"/>
                      <a:r>
                        <a:rPr lang="en-US" sz="1600" b="0" i="0" dirty="0">
                          <a:solidFill>
                            <a:schemeClr val="bg1"/>
                          </a:solidFill>
                          <a:latin typeface="Calibri" panose="020F0502020204030204" pitchFamily="34" charset="0"/>
                          <a:cs typeface="Calibri" panose="020F0502020204030204" pitchFamily="34" charset="0"/>
                        </a:rPr>
                        <a:t>Inform the effective formulation and monitoring of policy, as well as to evaluate the implementation thereof</a:t>
                      </a:r>
                      <a:endParaRPr lang="en-ZA" sz="1600" b="0" i="0" dirty="0">
                        <a:solidFill>
                          <a:schemeClr val="bg1"/>
                        </a:solidFill>
                        <a:latin typeface="Calibri" panose="020F0502020204030204" pitchFamily="34" charset="0"/>
                        <a:cs typeface="Calibri" panose="020F0502020204030204" pitchFamily="34" charset="0"/>
                      </a:endParaRPr>
                    </a:p>
                    <a:p>
                      <a:pPr algn="ctr"/>
                      <a:endParaRPr lang="en-ZA" sz="1100" b="0" i="0" dirty="0">
                        <a:solidFill>
                          <a:schemeClr val="tx1"/>
                        </a:solidFill>
                        <a:latin typeface="Calibri Light" panose="020F0302020204030204" pitchFamily="34" charset="0"/>
                        <a:cs typeface="Calibri Light" panose="020F0302020204030204" pitchFamily="34" charset="0"/>
                      </a:endParaRPr>
                    </a:p>
                  </a:txBody>
                  <a:tcPr marL="68580" marR="68580" marT="34290" marB="34290">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907291"/>
                  </a:ext>
                </a:extLst>
              </a:tr>
              <a:tr h="1389947">
                <a:tc>
                  <a:txBody>
                    <a:bodyPr/>
                    <a:lstStyle/>
                    <a:p>
                      <a:pPr algn="ctr"/>
                      <a:endParaRPr lang="en-US" sz="1600" b="0" i="0" dirty="0">
                        <a:solidFill>
                          <a:schemeClr val="tx1"/>
                        </a:solidFill>
                        <a:latin typeface="Calibri Light" panose="020F0302020204030204" pitchFamily="34" charset="0"/>
                        <a:cs typeface="Calibri Light" panose="020F0302020204030204" pitchFamily="34" charset="0"/>
                      </a:endParaRPr>
                    </a:p>
                    <a:p>
                      <a:pPr algn="ctr"/>
                      <a:endParaRPr lang="en-US" sz="1600" b="0" i="0" dirty="0">
                        <a:solidFill>
                          <a:schemeClr val="tx1"/>
                        </a:solidFill>
                        <a:latin typeface="Calibri Light" panose="020F0302020204030204" pitchFamily="34" charset="0"/>
                        <a:cs typeface="Calibri Light" panose="020F0302020204030204" pitchFamily="34" charset="0"/>
                      </a:endParaRPr>
                    </a:p>
                    <a:p>
                      <a:pPr algn="ctr"/>
                      <a:r>
                        <a:rPr lang="en-US" sz="1600" b="0" i="0" dirty="0">
                          <a:solidFill>
                            <a:schemeClr val="bg1"/>
                          </a:solidFill>
                          <a:latin typeface="Calibri" panose="020F0502020204030204" pitchFamily="34" charset="0"/>
                          <a:cs typeface="Calibri" panose="020F0502020204030204" pitchFamily="34" charset="0"/>
                        </a:rPr>
                        <a:t>Stimulate public debate through the effective dissemination of fact-based research results</a:t>
                      </a:r>
                      <a:endParaRPr lang="en-ZA" sz="1600" b="0" i="0" dirty="0">
                        <a:solidFill>
                          <a:schemeClr val="bg1"/>
                        </a:solidFill>
                        <a:latin typeface="Calibri" panose="020F0502020204030204" pitchFamily="34" charset="0"/>
                        <a:cs typeface="Calibri" panose="020F0502020204030204" pitchFamily="34" charset="0"/>
                      </a:endParaRPr>
                    </a:p>
                  </a:txBody>
                  <a:tcPr marL="68580" marR="6858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US" sz="1600" b="0" i="0" dirty="0">
                        <a:solidFill>
                          <a:schemeClr val="tx1"/>
                        </a:solidFill>
                        <a:latin typeface="Calibri Light" panose="020F0302020204030204" pitchFamily="34" charset="0"/>
                        <a:cs typeface="Calibri Light" panose="020F0302020204030204" pitchFamily="34" charset="0"/>
                      </a:endParaRPr>
                    </a:p>
                    <a:p>
                      <a:pPr algn="ctr"/>
                      <a:endParaRPr lang="en-US" sz="1600" b="0" i="0" dirty="0">
                        <a:solidFill>
                          <a:schemeClr val="tx1"/>
                        </a:solidFill>
                        <a:latin typeface="Calibri Light" panose="020F0302020204030204" pitchFamily="34" charset="0"/>
                        <a:cs typeface="Calibri Light" panose="020F0302020204030204" pitchFamily="34" charset="0"/>
                      </a:endParaRPr>
                    </a:p>
                    <a:p>
                      <a:pPr algn="ctr"/>
                      <a:r>
                        <a:rPr lang="en-US" sz="1600" b="0" i="0" dirty="0">
                          <a:solidFill>
                            <a:schemeClr val="bg1"/>
                          </a:solidFill>
                          <a:latin typeface="Calibri" panose="020F0502020204030204" pitchFamily="34" charset="0"/>
                          <a:cs typeface="Calibri" panose="020F0502020204030204" pitchFamily="34" charset="0"/>
                        </a:rPr>
                        <a:t>Help build research capacity and infrastructure for the human sciences</a:t>
                      </a:r>
                      <a:endParaRPr lang="en-ZA" sz="1600" b="0" i="0" dirty="0">
                        <a:solidFill>
                          <a:schemeClr val="bg1"/>
                        </a:solidFill>
                        <a:latin typeface="Calibri" panose="020F0502020204030204" pitchFamily="34" charset="0"/>
                        <a:cs typeface="Calibri" panose="020F0502020204030204" pitchFamily="34" charset="0"/>
                      </a:endParaRPr>
                    </a:p>
                  </a:txBody>
                  <a:tcPr marL="68580" marR="6858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ZA" sz="1600" b="0" i="0" dirty="0">
                        <a:solidFill>
                          <a:schemeClr val="tx1"/>
                        </a:solidFill>
                        <a:latin typeface="Calibri Light" panose="020F0302020204030204" pitchFamily="34" charset="0"/>
                        <a:cs typeface="Calibri Light" panose="020F0302020204030204" pitchFamily="34" charset="0"/>
                      </a:endParaRPr>
                    </a:p>
                    <a:p>
                      <a:pPr algn="ctr"/>
                      <a:endParaRPr lang="en-ZA" sz="1600" b="0" i="0" dirty="0">
                        <a:solidFill>
                          <a:schemeClr val="tx1"/>
                        </a:solidFill>
                        <a:latin typeface="Calibri Light" panose="020F0302020204030204" pitchFamily="34" charset="0"/>
                        <a:cs typeface="Calibri Light" panose="020F0302020204030204" pitchFamily="34" charset="0"/>
                      </a:endParaRPr>
                    </a:p>
                    <a:p>
                      <a:pPr algn="ctr"/>
                      <a:r>
                        <a:rPr lang="en-ZA" sz="1600" b="0" i="0" dirty="0">
                          <a:solidFill>
                            <a:schemeClr val="bg1"/>
                          </a:solidFill>
                          <a:latin typeface="Calibri" panose="020F0502020204030204" pitchFamily="34" charset="0"/>
                          <a:cs typeface="Calibri" panose="020F0502020204030204" pitchFamily="34" charset="0"/>
                        </a:rPr>
                        <a:t>Foster research collaboration, networks and institutional linkages</a:t>
                      </a:r>
                    </a:p>
                  </a:txBody>
                  <a:tcPr marL="68580" marR="68580" marT="34290" marB="3429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79849131"/>
                  </a:ext>
                </a:extLst>
              </a:tr>
              <a:tr h="1539100">
                <a:tc>
                  <a:txBody>
                    <a:bodyPr/>
                    <a:lstStyle/>
                    <a:p>
                      <a:pPr algn="ctr"/>
                      <a:endParaRPr lang="en-US" sz="1600" b="0" i="0" dirty="0">
                        <a:solidFill>
                          <a:schemeClr val="tx1"/>
                        </a:solidFill>
                        <a:latin typeface="Calibri Light" panose="020F0302020204030204" pitchFamily="34" charset="0"/>
                        <a:cs typeface="Calibri Light" panose="020F0302020204030204" pitchFamily="34" charset="0"/>
                      </a:endParaRPr>
                    </a:p>
                    <a:p>
                      <a:pPr algn="ctr"/>
                      <a:endParaRPr lang="en-US" sz="1600" b="0" i="0" dirty="0">
                        <a:solidFill>
                          <a:schemeClr val="tx1"/>
                        </a:solidFill>
                        <a:latin typeface="Calibri Light" panose="020F0302020204030204" pitchFamily="34" charset="0"/>
                        <a:cs typeface="Calibri Light" panose="020F0302020204030204" pitchFamily="34" charset="0"/>
                      </a:endParaRPr>
                    </a:p>
                    <a:p>
                      <a:pPr algn="ctr"/>
                      <a:r>
                        <a:rPr lang="en-US" sz="1600" b="0" i="0" dirty="0">
                          <a:solidFill>
                            <a:schemeClr val="bg1"/>
                          </a:solidFill>
                          <a:latin typeface="Calibri" panose="020F0502020204030204" pitchFamily="34" charset="0"/>
                          <a:cs typeface="Calibri" panose="020F0502020204030204" pitchFamily="34" charset="0"/>
                        </a:rPr>
                        <a:t>Respond to the needs of vulnerable and marginalised groups in society</a:t>
                      </a:r>
                      <a:endParaRPr lang="en-ZA" sz="1600" b="0" i="0" dirty="0">
                        <a:solidFill>
                          <a:schemeClr val="bg1"/>
                        </a:solidFill>
                        <a:latin typeface="Calibri" panose="020F0502020204030204" pitchFamily="34" charset="0"/>
                        <a:cs typeface="Calibri" panose="020F050202020403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r>
                        <a:rPr lang="en-US" sz="1500" b="0" i="0" dirty="0">
                          <a:solidFill>
                            <a:schemeClr val="bg1"/>
                          </a:solidFill>
                          <a:latin typeface="Calibri" panose="020F0502020204030204" pitchFamily="34" charset="0"/>
                          <a:cs typeface="Calibri" panose="020F0502020204030204" pitchFamily="34" charset="0"/>
                        </a:rPr>
                        <a:t>Develop and make available data sets underpinning research, policy development and public discussion of developmental issues</a:t>
                      </a:r>
                      <a:endParaRPr lang="en-ZA" sz="1500" b="0" i="0" dirty="0">
                        <a:solidFill>
                          <a:schemeClr val="bg1"/>
                        </a:solidFill>
                        <a:latin typeface="Calibri" panose="020F0502020204030204" pitchFamily="34" charset="0"/>
                        <a:cs typeface="Calibri" panose="020F050202020403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endParaRPr lang="en-US" sz="1100" b="0" i="0" dirty="0">
                        <a:solidFill>
                          <a:schemeClr val="tx1"/>
                        </a:solidFill>
                        <a:latin typeface="Calibri Light" panose="020F0302020204030204" pitchFamily="34" charset="0"/>
                        <a:cs typeface="Calibri Light" panose="020F0302020204030204" pitchFamily="34" charset="0"/>
                      </a:endParaRPr>
                    </a:p>
                    <a:p>
                      <a:pPr algn="ctr"/>
                      <a:r>
                        <a:rPr lang="en-US" sz="1600" b="0" i="0" dirty="0">
                          <a:solidFill>
                            <a:schemeClr val="bg1"/>
                          </a:solidFill>
                          <a:latin typeface="Calibri" panose="020F0502020204030204" pitchFamily="34" charset="0"/>
                          <a:cs typeface="Calibri" panose="020F0502020204030204" pitchFamily="34" charset="0"/>
                        </a:rPr>
                        <a:t>Develop new and improved methodologies for use in the development of such data sets</a:t>
                      </a:r>
                    </a:p>
                    <a:p>
                      <a:pPr algn="ctr"/>
                      <a:endParaRPr lang="en-ZA" sz="1400" b="0" i="0" dirty="0">
                        <a:solidFill>
                          <a:schemeClr val="tx1"/>
                        </a:solidFill>
                        <a:latin typeface="Calibri" panose="020F0502020204030204" pitchFamily="34" charset="0"/>
                        <a:cs typeface="Calibri" panose="020F0502020204030204" pitchFamily="34" charset="0"/>
                      </a:endParaRPr>
                    </a:p>
                  </a:txBody>
                  <a:tcPr marL="68580" marR="68580" marT="34290" marB="34290">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56317711"/>
                  </a:ext>
                </a:extLst>
              </a:tr>
            </a:tbl>
          </a:graphicData>
        </a:graphic>
      </p:graphicFrame>
      <p:sp>
        <p:nvSpPr>
          <p:cNvPr id="6174" name="AutoShape 30"/>
          <p:cNvSpPr>
            <a:spLocks/>
          </p:cNvSpPr>
          <p:nvPr/>
        </p:nvSpPr>
        <p:spPr bwMode="auto">
          <a:xfrm>
            <a:off x="4561882" y="3980262"/>
            <a:ext cx="18752" cy="2202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4961" y="0"/>
                </a:moveTo>
                <a:lnTo>
                  <a:pt x="0" y="20674"/>
                </a:lnTo>
                <a:lnTo>
                  <a:pt x="8669" y="21600"/>
                </a:lnTo>
                <a:lnTo>
                  <a:pt x="14791" y="20804"/>
                </a:lnTo>
                <a:lnTo>
                  <a:pt x="18807" y="18138"/>
                </a:lnTo>
                <a:lnTo>
                  <a:pt x="21160" y="13454"/>
                </a:lnTo>
                <a:lnTo>
                  <a:pt x="21600" y="9031"/>
                </a:lnTo>
                <a:lnTo>
                  <a:pt x="20372" y="5512"/>
                </a:lnTo>
                <a:lnTo>
                  <a:pt x="17988" y="2602"/>
                </a:lnTo>
                <a:lnTo>
                  <a:pt x="14961" y="0"/>
                </a:lnTo>
                <a:close/>
              </a:path>
            </a:pathLst>
          </a:custGeom>
          <a:solidFill>
            <a:schemeClr val="bg1"/>
          </a:solidFill>
          <a:ln>
            <a:solidFill>
              <a:schemeClr val="tx2"/>
            </a:solidFill>
          </a:ln>
          <a:effectLst/>
        </p:spPr>
        <p:txBody>
          <a:bodyPr lIns="18473" tIns="18473" rIns="18473" bIns="18473"/>
          <a:lstStyle/>
          <a:p>
            <a:endParaRPr lang="en-US" altLang="en-US" sz="1350" dirty="0">
              <a:solidFill>
                <a:prstClr val="black"/>
              </a:solidFill>
              <a:latin typeface="Calibri" panose="020F0502020204030204"/>
            </a:endParaRPr>
          </a:p>
        </p:txBody>
      </p:sp>
      <p:sp>
        <p:nvSpPr>
          <p:cNvPr id="6175" name="AutoShape 31"/>
          <p:cNvSpPr>
            <a:spLocks/>
          </p:cNvSpPr>
          <p:nvPr/>
        </p:nvSpPr>
        <p:spPr bwMode="auto">
          <a:xfrm>
            <a:off x="4530181" y="3885605"/>
            <a:ext cx="18752" cy="2500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56" y="0"/>
                </a:moveTo>
                <a:lnTo>
                  <a:pt x="6811" y="766"/>
                </a:lnTo>
                <a:lnTo>
                  <a:pt x="3417" y="2961"/>
                </a:lnTo>
                <a:lnTo>
                  <a:pt x="1029" y="6251"/>
                </a:lnTo>
                <a:lnTo>
                  <a:pt x="0" y="10297"/>
                </a:lnTo>
                <a:lnTo>
                  <a:pt x="588" y="14646"/>
                </a:lnTo>
                <a:lnTo>
                  <a:pt x="2658" y="18186"/>
                </a:lnTo>
                <a:lnTo>
                  <a:pt x="5933" y="20607"/>
                </a:lnTo>
                <a:lnTo>
                  <a:pt x="10136" y="21600"/>
                </a:lnTo>
                <a:lnTo>
                  <a:pt x="14469" y="20910"/>
                </a:lnTo>
                <a:lnTo>
                  <a:pt x="18082" y="18723"/>
                </a:lnTo>
                <a:lnTo>
                  <a:pt x="20588" y="15390"/>
                </a:lnTo>
                <a:lnTo>
                  <a:pt x="21600" y="11261"/>
                </a:lnTo>
                <a:lnTo>
                  <a:pt x="20789" y="7119"/>
                </a:lnTo>
                <a:lnTo>
                  <a:pt x="18414" y="3533"/>
                </a:lnTo>
                <a:lnTo>
                  <a:pt x="14946" y="996"/>
                </a:lnTo>
                <a:lnTo>
                  <a:pt x="10856" y="0"/>
                </a:lnTo>
                <a:close/>
              </a:path>
            </a:pathLst>
          </a:custGeom>
          <a:solidFill>
            <a:schemeClr val="bg1"/>
          </a:solidFill>
          <a:ln>
            <a:solidFill>
              <a:schemeClr val="tx2"/>
            </a:solidFill>
          </a:ln>
          <a:effectLst/>
        </p:spPr>
        <p:txBody>
          <a:bodyPr lIns="18473" tIns="18473" rIns="18473" bIns="18473"/>
          <a:lstStyle/>
          <a:p>
            <a:endParaRPr lang="en-US" altLang="en-US" sz="1350" dirty="0">
              <a:solidFill>
                <a:prstClr val="black"/>
              </a:solidFill>
              <a:latin typeface="Calibri" panose="020F0502020204030204"/>
            </a:endParaRPr>
          </a:p>
        </p:txBody>
      </p:sp>
      <p:sp>
        <p:nvSpPr>
          <p:cNvPr id="6176" name="AutoShape 32"/>
          <p:cNvSpPr>
            <a:spLocks/>
          </p:cNvSpPr>
          <p:nvPr/>
        </p:nvSpPr>
        <p:spPr bwMode="auto">
          <a:xfrm>
            <a:off x="4455619" y="3885605"/>
            <a:ext cx="19199" cy="2440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64" y="0"/>
                </a:moveTo>
                <a:lnTo>
                  <a:pt x="6811" y="1001"/>
                </a:lnTo>
                <a:lnTo>
                  <a:pt x="3304" y="3553"/>
                </a:lnTo>
                <a:lnTo>
                  <a:pt x="860" y="7119"/>
                </a:lnTo>
                <a:lnTo>
                  <a:pt x="0" y="11166"/>
                </a:lnTo>
                <a:lnTo>
                  <a:pt x="1016" y="15240"/>
                </a:lnTo>
                <a:lnTo>
                  <a:pt x="3546" y="18604"/>
                </a:lnTo>
                <a:lnTo>
                  <a:pt x="7154" y="20857"/>
                </a:lnTo>
                <a:lnTo>
                  <a:pt x="11401" y="21600"/>
                </a:lnTo>
                <a:lnTo>
                  <a:pt x="15472" y="20698"/>
                </a:lnTo>
                <a:lnTo>
                  <a:pt x="18703" y="18459"/>
                </a:lnTo>
                <a:lnTo>
                  <a:pt x="20832" y="15152"/>
                </a:lnTo>
                <a:lnTo>
                  <a:pt x="21600" y="11043"/>
                </a:lnTo>
                <a:lnTo>
                  <a:pt x="20745" y="6750"/>
                </a:lnTo>
                <a:lnTo>
                  <a:pt x="18421" y="3221"/>
                </a:lnTo>
                <a:lnTo>
                  <a:pt x="15002" y="843"/>
                </a:lnTo>
                <a:lnTo>
                  <a:pt x="10864" y="0"/>
                </a:lnTo>
                <a:close/>
              </a:path>
            </a:pathLst>
          </a:custGeom>
          <a:solidFill>
            <a:schemeClr val="bg1"/>
          </a:solidFill>
          <a:ln>
            <a:solidFill>
              <a:schemeClr val="tx2"/>
            </a:solidFill>
          </a:ln>
          <a:effectLst/>
        </p:spPr>
        <p:txBody>
          <a:bodyPr lIns="18473" tIns="18473" rIns="18473" bIns="18473"/>
          <a:lstStyle/>
          <a:p>
            <a:endParaRPr lang="en-US" altLang="en-US" sz="1350" dirty="0">
              <a:solidFill>
                <a:prstClr val="black"/>
              </a:solidFill>
              <a:latin typeface="Calibri" panose="020F0502020204030204"/>
            </a:endParaRPr>
          </a:p>
        </p:txBody>
      </p:sp>
      <p:sp>
        <p:nvSpPr>
          <p:cNvPr id="6177" name="AutoShape 33"/>
          <p:cNvSpPr>
            <a:spLocks/>
          </p:cNvSpPr>
          <p:nvPr/>
        </p:nvSpPr>
        <p:spPr bwMode="auto">
          <a:xfrm>
            <a:off x="4494908" y="3858817"/>
            <a:ext cx="16967" cy="2262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45" y="0"/>
                </a:moveTo>
                <a:lnTo>
                  <a:pt x="6839" y="1010"/>
                </a:lnTo>
                <a:lnTo>
                  <a:pt x="3359" y="3477"/>
                </a:lnTo>
                <a:lnTo>
                  <a:pt x="910" y="6896"/>
                </a:lnTo>
                <a:lnTo>
                  <a:pt x="0" y="10765"/>
                </a:lnTo>
                <a:lnTo>
                  <a:pt x="1005" y="14878"/>
                </a:lnTo>
                <a:lnTo>
                  <a:pt x="3601" y="18386"/>
                </a:lnTo>
                <a:lnTo>
                  <a:pt x="7263" y="20792"/>
                </a:lnTo>
                <a:lnTo>
                  <a:pt x="11464" y="21600"/>
                </a:lnTo>
                <a:lnTo>
                  <a:pt x="15411" y="20588"/>
                </a:lnTo>
                <a:lnTo>
                  <a:pt x="18660" y="18132"/>
                </a:lnTo>
                <a:lnTo>
                  <a:pt x="20845" y="14631"/>
                </a:lnTo>
                <a:lnTo>
                  <a:pt x="21600" y="10485"/>
                </a:lnTo>
                <a:lnTo>
                  <a:pt x="20670" y="6387"/>
                </a:lnTo>
                <a:lnTo>
                  <a:pt x="18305" y="3018"/>
                </a:lnTo>
                <a:lnTo>
                  <a:pt x="14898" y="761"/>
                </a:lnTo>
                <a:lnTo>
                  <a:pt x="10845" y="0"/>
                </a:lnTo>
                <a:close/>
              </a:path>
            </a:pathLst>
          </a:custGeom>
          <a:solidFill>
            <a:schemeClr val="bg1"/>
          </a:solidFill>
          <a:ln>
            <a:solidFill>
              <a:schemeClr val="tx2"/>
            </a:solidFill>
          </a:ln>
          <a:effectLst/>
        </p:spPr>
        <p:txBody>
          <a:bodyPr lIns="18473" tIns="18473" rIns="18473" bIns="18473"/>
          <a:lstStyle/>
          <a:p>
            <a:endParaRPr lang="en-US" altLang="en-US" sz="1350" dirty="0">
              <a:solidFill>
                <a:prstClr val="black"/>
              </a:solidFill>
              <a:latin typeface="Calibri" panose="020F0502020204030204"/>
            </a:endParaRPr>
          </a:p>
        </p:txBody>
      </p:sp>
      <p:sp>
        <p:nvSpPr>
          <p:cNvPr id="6178" name="AutoShape 34"/>
          <p:cNvSpPr>
            <a:spLocks/>
          </p:cNvSpPr>
          <p:nvPr/>
        </p:nvSpPr>
        <p:spPr bwMode="auto">
          <a:xfrm>
            <a:off x="5239197" y="3052762"/>
            <a:ext cx="8930" cy="44054"/>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9785" y="0"/>
                </a:moveTo>
                <a:lnTo>
                  <a:pt x="0" y="21600"/>
                </a:lnTo>
                <a:lnTo>
                  <a:pt x="10092" y="17201"/>
                </a:lnTo>
                <a:lnTo>
                  <a:pt x="17830" y="10802"/>
                </a:lnTo>
                <a:lnTo>
                  <a:pt x="21600" y="4403"/>
                </a:lnTo>
                <a:lnTo>
                  <a:pt x="19785" y="0"/>
                </a:lnTo>
                <a:close/>
              </a:path>
            </a:pathLst>
          </a:custGeom>
          <a:solidFill>
            <a:schemeClr val="bg1"/>
          </a:solidFill>
          <a:ln>
            <a:solidFill>
              <a:schemeClr val="tx2"/>
            </a:solidFill>
          </a:ln>
          <a:effectLst/>
        </p:spPr>
        <p:txBody>
          <a:bodyPr lIns="18473" tIns="18473" rIns="18473" bIns="18473"/>
          <a:lstStyle/>
          <a:p>
            <a:endParaRPr lang="en-US" altLang="en-US" sz="1350" dirty="0">
              <a:solidFill>
                <a:prstClr val="black"/>
              </a:solidFill>
              <a:latin typeface="Calibri" panose="020F0502020204030204"/>
            </a:endParaRPr>
          </a:p>
        </p:txBody>
      </p:sp>
      <p:grpSp>
        <p:nvGrpSpPr>
          <p:cNvPr id="22" name="Group 21"/>
          <p:cNvGrpSpPr/>
          <p:nvPr/>
        </p:nvGrpSpPr>
        <p:grpSpPr>
          <a:xfrm>
            <a:off x="5264201" y="3007519"/>
            <a:ext cx="9376" cy="38100"/>
            <a:chOff x="4986934" y="2867025"/>
            <a:chExt cx="12501" cy="50800"/>
          </a:xfrm>
          <a:solidFill>
            <a:schemeClr val="bg1"/>
          </a:solidFill>
        </p:grpSpPr>
        <p:sp>
          <p:nvSpPr>
            <p:cNvPr id="6180" name="AutoShape 36"/>
            <p:cNvSpPr>
              <a:spLocks/>
            </p:cNvSpPr>
            <p:nvPr/>
          </p:nvSpPr>
          <p:spPr bwMode="auto">
            <a:xfrm>
              <a:off x="4990069" y="2872034"/>
              <a:ext cx="9366" cy="4579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585" y="0"/>
                  </a:moveTo>
                  <a:lnTo>
                    <a:pt x="0" y="5326"/>
                  </a:lnTo>
                  <a:lnTo>
                    <a:pt x="2124" y="10917"/>
                  </a:lnTo>
                  <a:lnTo>
                    <a:pt x="6958" y="16340"/>
                  </a:lnTo>
                  <a:lnTo>
                    <a:pt x="14452" y="21600"/>
                  </a:lnTo>
                  <a:lnTo>
                    <a:pt x="21600" y="21136"/>
                  </a:lnTo>
                  <a:lnTo>
                    <a:pt x="585" y="0"/>
                  </a:lnTo>
                  <a:close/>
                </a:path>
              </a:pathLst>
            </a:custGeom>
            <a:grpFill/>
            <a:ln w="12700" cap="flat" cmpd="sng">
              <a:solidFill>
                <a:schemeClr val="tx2"/>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43982" tIns="43982" rIns="43982" bIns="43982"/>
            <a:lstStyle/>
            <a:p>
              <a:endParaRPr lang="en-US" altLang="en-US" sz="1350" dirty="0">
                <a:solidFill>
                  <a:prstClr val="black"/>
                </a:solidFill>
                <a:latin typeface="Calibri" panose="020F0502020204030204"/>
              </a:endParaRPr>
            </a:p>
          </p:txBody>
        </p:sp>
        <p:sp>
          <p:nvSpPr>
            <p:cNvPr id="6181" name="AutoShape 37"/>
            <p:cNvSpPr>
              <a:spLocks/>
            </p:cNvSpPr>
            <p:nvPr/>
          </p:nvSpPr>
          <p:spPr bwMode="auto">
            <a:xfrm>
              <a:off x="4986934" y="2867025"/>
              <a:ext cx="6665" cy="910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21600" y="0"/>
                  </a:moveTo>
                  <a:lnTo>
                    <a:pt x="0" y="6249"/>
                  </a:lnTo>
                  <a:lnTo>
                    <a:pt x="18641" y="21600"/>
                  </a:lnTo>
                  <a:lnTo>
                    <a:pt x="21600" y="0"/>
                  </a:lnTo>
                  <a:close/>
                </a:path>
              </a:pathLst>
            </a:custGeom>
            <a:grpFill/>
            <a:ln w="12700" cap="flat" cmpd="sng">
              <a:solidFill>
                <a:schemeClr val="tx2"/>
              </a:solidFill>
              <a:prstDash val="solid"/>
              <a:miter lim="400000"/>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43982" tIns="43982" rIns="43982" bIns="43982"/>
            <a:lstStyle/>
            <a:p>
              <a:endParaRPr lang="en-US" altLang="en-US" sz="1350" dirty="0">
                <a:solidFill>
                  <a:prstClr val="black"/>
                </a:solidFill>
                <a:latin typeface="Calibri" panose="020F0502020204030204"/>
              </a:endParaRPr>
            </a:p>
          </p:txBody>
        </p:sp>
      </p:grpSp>
      <p:sp>
        <p:nvSpPr>
          <p:cNvPr id="20" name="Rectangle 48">
            <a:extLst>
              <a:ext uri="{FF2B5EF4-FFF2-40B4-BE49-F238E27FC236}">
                <a16:creationId xmlns:a16="http://schemas.microsoft.com/office/drawing/2014/main" id="{A7F98BA1-07A3-1D48-9751-8B3DC1882C87}"/>
              </a:ext>
            </a:extLst>
          </p:cNvPr>
          <p:cNvSpPr>
            <a:spLocks/>
          </p:cNvSpPr>
          <p:nvPr/>
        </p:nvSpPr>
        <p:spPr bwMode="auto">
          <a:xfrm>
            <a:off x="1524001" y="208979"/>
            <a:ext cx="9100219" cy="11637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indent="12700">
              <a:defRPr sz="2200">
                <a:solidFill>
                  <a:srgbClr val="000000"/>
                </a:solidFill>
                <a:latin typeface="Calibri" pitchFamily="34" charset="0"/>
                <a:cs typeface="Calibri" pitchFamily="34" charset="0"/>
                <a:sym typeface="Calibri" pitchFamily="34" charset="0"/>
              </a:defRPr>
            </a:lvl1pPr>
            <a:lvl2pPr>
              <a:defRPr sz="2200">
                <a:solidFill>
                  <a:srgbClr val="000000"/>
                </a:solidFill>
                <a:latin typeface="Calibri" pitchFamily="34" charset="0"/>
                <a:cs typeface="Calibri" pitchFamily="34" charset="0"/>
                <a:sym typeface="Calibri" pitchFamily="34" charset="0"/>
              </a:defRPr>
            </a:lvl2pPr>
            <a:lvl3pPr>
              <a:defRPr sz="2200">
                <a:solidFill>
                  <a:srgbClr val="000000"/>
                </a:solidFill>
                <a:latin typeface="Calibri" pitchFamily="34" charset="0"/>
                <a:cs typeface="Calibri" pitchFamily="34" charset="0"/>
                <a:sym typeface="Calibri" pitchFamily="34" charset="0"/>
              </a:defRPr>
            </a:lvl3pPr>
            <a:lvl4pPr>
              <a:defRPr sz="2200">
                <a:solidFill>
                  <a:srgbClr val="000000"/>
                </a:solidFill>
                <a:latin typeface="Calibri" pitchFamily="34" charset="0"/>
                <a:cs typeface="Calibri" pitchFamily="34" charset="0"/>
                <a:sym typeface="Calibri" pitchFamily="34" charset="0"/>
              </a:defRPr>
            </a:lvl4pPr>
            <a:lvl5pPr>
              <a:defRPr sz="2200">
                <a:solidFill>
                  <a:srgbClr val="000000"/>
                </a:solidFill>
                <a:latin typeface="Calibri" pitchFamily="34" charset="0"/>
                <a:cs typeface="Calibri" pitchFamily="34" charset="0"/>
                <a:sym typeface="Calibri" pitchFamily="34" charset="0"/>
              </a:defRPr>
            </a:lvl5pPr>
            <a:lvl6pPr marL="457200" defTabSz="1171575" fontAlgn="base" hangingPunct="0">
              <a:spcBef>
                <a:spcPct val="0"/>
              </a:spcBef>
              <a:spcAft>
                <a:spcPct val="0"/>
              </a:spcAft>
              <a:defRPr sz="2200">
                <a:solidFill>
                  <a:srgbClr val="000000"/>
                </a:solidFill>
                <a:latin typeface="Calibri" pitchFamily="34" charset="0"/>
                <a:cs typeface="Calibri" pitchFamily="34" charset="0"/>
                <a:sym typeface="Calibri" pitchFamily="34" charset="0"/>
              </a:defRPr>
            </a:lvl6pPr>
            <a:lvl7pPr marL="914400" defTabSz="1171575" fontAlgn="base" hangingPunct="0">
              <a:spcBef>
                <a:spcPct val="0"/>
              </a:spcBef>
              <a:spcAft>
                <a:spcPct val="0"/>
              </a:spcAft>
              <a:defRPr sz="2200">
                <a:solidFill>
                  <a:srgbClr val="000000"/>
                </a:solidFill>
                <a:latin typeface="Calibri" pitchFamily="34" charset="0"/>
                <a:cs typeface="Calibri" pitchFamily="34" charset="0"/>
                <a:sym typeface="Calibri" pitchFamily="34" charset="0"/>
              </a:defRPr>
            </a:lvl7pPr>
            <a:lvl8pPr marL="1371600" defTabSz="1171575" fontAlgn="base" hangingPunct="0">
              <a:spcBef>
                <a:spcPct val="0"/>
              </a:spcBef>
              <a:spcAft>
                <a:spcPct val="0"/>
              </a:spcAft>
              <a:defRPr sz="2200">
                <a:solidFill>
                  <a:srgbClr val="000000"/>
                </a:solidFill>
                <a:latin typeface="Calibri" pitchFamily="34" charset="0"/>
                <a:cs typeface="Calibri" pitchFamily="34" charset="0"/>
                <a:sym typeface="Calibri" pitchFamily="34" charset="0"/>
              </a:defRPr>
            </a:lvl8pPr>
            <a:lvl9pPr marL="1828800" defTabSz="1171575" fontAlgn="base" hangingPunct="0">
              <a:spcBef>
                <a:spcPct val="0"/>
              </a:spcBef>
              <a:spcAft>
                <a:spcPct val="0"/>
              </a:spcAft>
              <a:defRPr sz="2200">
                <a:solidFill>
                  <a:srgbClr val="000000"/>
                </a:solidFill>
                <a:latin typeface="Calibri" pitchFamily="34" charset="0"/>
                <a:cs typeface="Calibri" pitchFamily="34" charset="0"/>
                <a:sym typeface="Calibri" pitchFamily="34" charset="0"/>
              </a:defRPr>
            </a:lvl9pPr>
          </a:lstStyle>
          <a:p>
            <a:pPr algn="ctr"/>
            <a:r>
              <a:rPr lang="en-US" altLang="en-US" sz="4400" b="1" dirty="0">
                <a:solidFill>
                  <a:prstClr val="white"/>
                </a:solidFill>
                <a:latin typeface="Calibri" panose="020F0502020204030204"/>
                <a:sym typeface="Arial" pitchFamily="34" charset="0"/>
              </a:rPr>
              <a:t>HSRC Mandate and Objectives</a:t>
            </a:r>
          </a:p>
          <a:p>
            <a:pPr algn="ctr"/>
            <a:endParaRPr lang="en-US" altLang="en-US" sz="700" dirty="0">
              <a:solidFill>
                <a:prstClr val="white"/>
              </a:solidFill>
              <a:latin typeface="Calibri Light" panose="020F0302020204030204"/>
              <a:sym typeface="Arial" pitchFamily="34" charset="0"/>
            </a:endParaRPr>
          </a:p>
          <a:p>
            <a:pPr algn="ctr"/>
            <a:r>
              <a:rPr lang="en-US" altLang="en-US" sz="2000" dirty="0">
                <a:solidFill>
                  <a:srgbClr val="C3B69B"/>
                </a:solidFill>
                <a:latin typeface="Calibri" panose="020F0502020204030204"/>
                <a:sym typeface="Arial" pitchFamily="34" charset="0"/>
              </a:rPr>
              <a:t>Section 3, Act 17 of 2008</a:t>
            </a:r>
          </a:p>
        </p:txBody>
      </p:sp>
      <p:grpSp>
        <p:nvGrpSpPr>
          <p:cNvPr id="32" name="Group 31"/>
          <p:cNvGrpSpPr/>
          <p:nvPr/>
        </p:nvGrpSpPr>
        <p:grpSpPr>
          <a:xfrm>
            <a:off x="5850771" y="1339157"/>
            <a:ext cx="472491" cy="483798"/>
            <a:chOff x="5669731" y="1452940"/>
            <a:chExt cx="629988" cy="645064"/>
          </a:xfrm>
          <a:solidFill>
            <a:schemeClr val="bg1"/>
          </a:solidFill>
        </p:grpSpPr>
        <p:sp>
          <p:nvSpPr>
            <p:cNvPr id="43" name="Oval 172">
              <a:extLst>
                <a:ext uri="{FF2B5EF4-FFF2-40B4-BE49-F238E27FC236}">
                  <a16:creationId xmlns:a16="http://schemas.microsoft.com/office/drawing/2014/main" id="{F486E625-8953-4C0F-8A62-E6D18D8F8068}"/>
                </a:ext>
              </a:extLst>
            </p:cNvPr>
            <p:cNvSpPr>
              <a:spLocks noChangeArrowheads="1"/>
            </p:cNvSpPr>
            <p:nvPr/>
          </p:nvSpPr>
          <p:spPr bwMode="auto">
            <a:xfrm>
              <a:off x="5669731" y="1452940"/>
              <a:ext cx="629988" cy="645064"/>
            </a:xfrm>
            <a:prstGeom prst="ellipse">
              <a:avLst/>
            </a:prstGeom>
            <a:grpFill/>
            <a:ln>
              <a:solidFill>
                <a:schemeClr val="tx2"/>
              </a:solidFill>
            </a:ln>
          </p:spPr>
          <p:txBody>
            <a:bodyPr vert="horz" wrap="square" lIns="68580" tIns="34290" rIns="68580" bIns="34290" numCol="1" anchor="t" anchorCtr="0" compatLnSpc="1">
              <a:prstTxWarp prst="textNoShape">
                <a:avLst/>
              </a:prstTxWarp>
            </a:bodyPr>
            <a:lstStyle/>
            <a:p>
              <a:pPr algn="ctr"/>
              <a:endParaRPr lang="en-US" sz="1350" dirty="0">
                <a:solidFill>
                  <a:prstClr val="black"/>
                </a:solidFill>
                <a:latin typeface="Calibri" panose="020F0502020204030204"/>
              </a:endParaRPr>
            </a:p>
          </p:txBody>
        </p:sp>
        <p:sp>
          <p:nvSpPr>
            <p:cNvPr id="44" name="Freeform 193">
              <a:extLst>
                <a:ext uri="{FF2B5EF4-FFF2-40B4-BE49-F238E27FC236}">
                  <a16:creationId xmlns:a16="http://schemas.microsoft.com/office/drawing/2014/main" id="{EDD65F57-849F-46A3-ADD2-FD1DC650E3E6}"/>
                </a:ext>
              </a:extLst>
            </p:cNvPr>
            <p:cNvSpPr>
              <a:spLocks noEditPoints="1"/>
            </p:cNvSpPr>
            <p:nvPr/>
          </p:nvSpPr>
          <p:spPr bwMode="auto">
            <a:xfrm>
              <a:off x="5761538" y="1530737"/>
              <a:ext cx="449539" cy="463538"/>
            </a:xfrm>
            <a:custGeom>
              <a:avLst/>
              <a:gdLst>
                <a:gd name="T0" fmla="*/ 83 w 142"/>
                <a:gd name="T1" fmla="*/ 42 h 143"/>
                <a:gd name="T2" fmla="*/ 39 w 142"/>
                <a:gd name="T3" fmla="*/ 62 h 143"/>
                <a:gd name="T4" fmla="*/ 53 w 142"/>
                <a:gd name="T5" fmla="*/ 104 h 143"/>
                <a:gd name="T6" fmla="*/ 90 w 142"/>
                <a:gd name="T7" fmla="*/ 143 h 143"/>
                <a:gd name="T8" fmla="*/ 104 w 142"/>
                <a:gd name="T9" fmla="*/ 104 h 143"/>
                <a:gd name="T10" fmla="*/ 103 w 142"/>
                <a:gd name="T11" fmla="*/ 62 h 143"/>
                <a:gd name="T12" fmla="*/ 90 w 142"/>
                <a:gd name="T13" fmla="*/ 99 h 143"/>
                <a:gd name="T14" fmla="*/ 85 w 142"/>
                <a:gd name="T15" fmla="*/ 72 h 143"/>
                <a:gd name="T16" fmla="*/ 74 w 142"/>
                <a:gd name="T17" fmla="*/ 138 h 143"/>
                <a:gd name="T18" fmla="*/ 69 w 142"/>
                <a:gd name="T19" fmla="*/ 106 h 143"/>
                <a:gd name="T20" fmla="*/ 58 w 142"/>
                <a:gd name="T21" fmla="*/ 138 h 143"/>
                <a:gd name="T22" fmla="*/ 53 w 142"/>
                <a:gd name="T23" fmla="*/ 72 h 143"/>
                <a:gd name="T24" fmla="*/ 44 w 142"/>
                <a:gd name="T25" fmla="*/ 99 h 143"/>
                <a:gd name="T26" fmla="*/ 60 w 142"/>
                <a:gd name="T27" fmla="*/ 46 h 143"/>
                <a:gd name="T28" fmla="*/ 99 w 142"/>
                <a:gd name="T29" fmla="*/ 62 h 143"/>
                <a:gd name="T30" fmla="*/ 71 w 142"/>
                <a:gd name="T31" fmla="*/ 37 h 143"/>
                <a:gd name="T32" fmla="*/ 71 w 142"/>
                <a:gd name="T33" fmla="*/ 0 h 143"/>
                <a:gd name="T34" fmla="*/ 71 w 142"/>
                <a:gd name="T35" fmla="*/ 37 h 143"/>
                <a:gd name="T36" fmla="*/ 85 w 142"/>
                <a:gd name="T37" fmla="*/ 19 h 143"/>
                <a:gd name="T38" fmla="*/ 58 w 142"/>
                <a:gd name="T39" fmla="*/ 19 h 143"/>
                <a:gd name="T40" fmla="*/ 44 w 142"/>
                <a:gd name="T41" fmla="*/ 123 h 143"/>
                <a:gd name="T42" fmla="*/ 48 w 142"/>
                <a:gd name="T43" fmla="*/ 108 h 143"/>
                <a:gd name="T44" fmla="*/ 38 w 142"/>
                <a:gd name="T45" fmla="*/ 133 h 143"/>
                <a:gd name="T46" fmla="*/ 12 w 142"/>
                <a:gd name="T47" fmla="*/ 123 h 143"/>
                <a:gd name="T48" fmla="*/ 0 w 142"/>
                <a:gd name="T49" fmla="*/ 99 h 143"/>
                <a:gd name="T50" fmla="*/ 21 w 142"/>
                <a:gd name="T51" fmla="*/ 51 h 143"/>
                <a:gd name="T52" fmla="*/ 37 w 142"/>
                <a:gd name="T53" fmla="*/ 55 h 143"/>
                <a:gd name="T54" fmla="*/ 5 w 142"/>
                <a:gd name="T55" fmla="*/ 72 h 143"/>
                <a:gd name="T56" fmla="*/ 12 w 142"/>
                <a:gd name="T57" fmla="*/ 95 h 143"/>
                <a:gd name="T58" fmla="*/ 16 w 142"/>
                <a:gd name="T59" fmla="*/ 78 h 143"/>
                <a:gd name="T60" fmla="*/ 22 w 142"/>
                <a:gd name="T61" fmla="*/ 129 h 143"/>
                <a:gd name="T62" fmla="*/ 28 w 142"/>
                <a:gd name="T63" fmla="*/ 101 h 143"/>
                <a:gd name="T64" fmla="*/ 32 w 142"/>
                <a:gd name="T65" fmla="*/ 129 h 143"/>
                <a:gd name="T66" fmla="*/ 44 w 142"/>
                <a:gd name="T67" fmla="*/ 123 h 143"/>
                <a:gd name="T68" fmla="*/ 48 w 142"/>
                <a:gd name="T69" fmla="*/ 28 h 143"/>
                <a:gd name="T70" fmla="*/ 12 w 142"/>
                <a:gd name="T71" fmla="*/ 28 h 143"/>
                <a:gd name="T72" fmla="*/ 30 w 142"/>
                <a:gd name="T73" fmla="*/ 14 h 143"/>
                <a:gd name="T74" fmla="*/ 30 w 142"/>
                <a:gd name="T75" fmla="*/ 42 h 143"/>
                <a:gd name="T76" fmla="*/ 30 w 142"/>
                <a:gd name="T77" fmla="*/ 14 h 143"/>
                <a:gd name="T78" fmla="*/ 142 w 142"/>
                <a:gd name="T79" fmla="*/ 99 h 143"/>
                <a:gd name="T80" fmla="*/ 131 w 142"/>
                <a:gd name="T81" fmla="*/ 123 h 143"/>
                <a:gd name="T82" fmla="*/ 105 w 142"/>
                <a:gd name="T83" fmla="*/ 134 h 143"/>
                <a:gd name="T84" fmla="*/ 94 w 142"/>
                <a:gd name="T85" fmla="*/ 108 h 143"/>
                <a:gd name="T86" fmla="*/ 99 w 142"/>
                <a:gd name="T87" fmla="*/ 123 h 143"/>
                <a:gd name="T88" fmla="*/ 110 w 142"/>
                <a:gd name="T89" fmla="*/ 129 h 143"/>
                <a:gd name="T90" fmla="*/ 115 w 142"/>
                <a:gd name="T91" fmla="*/ 101 h 143"/>
                <a:gd name="T92" fmla="*/ 121 w 142"/>
                <a:gd name="T93" fmla="*/ 129 h 143"/>
                <a:gd name="T94" fmla="*/ 126 w 142"/>
                <a:gd name="T95" fmla="*/ 78 h 143"/>
                <a:gd name="T96" fmla="*/ 131 w 142"/>
                <a:gd name="T97" fmla="*/ 95 h 143"/>
                <a:gd name="T98" fmla="*/ 138 w 142"/>
                <a:gd name="T99" fmla="*/ 72 h 143"/>
                <a:gd name="T100" fmla="*/ 106 w 142"/>
                <a:gd name="T101" fmla="*/ 55 h 143"/>
                <a:gd name="T102" fmla="*/ 122 w 142"/>
                <a:gd name="T103" fmla="*/ 51 h 143"/>
                <a:gd name="T104" fmla="*/ 113 w 142"/>
                <a:gd name="T105" fmla="*/ 46 h 143"/>
                <a:gd name="T106" fmla="*/ 113 w 142"/>
                <a:gd name="T107" fmla="*/ 10 h 143"/>
                <a:gd name="T108" fmla="*/ 113 w 142"/>
                <a:gd name="T109" fmla="*/ 46 h 143"/>
                <a:gd name="T110" fmla="*/ 126 w 142"/>
                <a:gd name="T111" fmla="*/ 28 h 143"/>
                <a:gd name="T112" fmla="*/ 99 w 142"/>
                <a:gd name="T113" fmla="*/ 2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2" h="143">
                  <a:moveTo>
                    <a:pt x="103" y="62"/>
                  </a:moveTo>
                  <a:cubicBezTo>
                    <a:pt x="103" y="51"/>
                    <a:pt x="94" y="42"/>
                    <a:pt x="83" y="42"/>
                  </a:cubicBezTo>
                  <a:cubicBezTo>
                    <a:pt x="60" y="42"/>
                    <a:pt x="60" y="42"/>
                    <a:pt x="60" y="42"/>
                  </a:cubicBezTo>
                  <a:cubicBezTo>
                    <a:pt x="48" y="42"/>
                    <a:pt x="39" y="51"/>
                    <a:pt x="39" y="62"/>
                  </a:cubicBezTo>
                  <a:cubicBezTo>
                    <a:pt x="39" y="104"/>
                    <a:pt x="39" y="104"/>
                    <a:pt x="39" y="104"/>
                  </a:cubicBezTo>
                  <a:cubicBezTo>
                    <a:pt x="53" y="104"/>
                    <a:pt x="53" y="104"/>
                    <a:pt x="53" y="104"/>
                  </a:cubicBezTo>
                  <a:cubicBezTo>
                    <a:pt x="53" y="143"/>
                    <a:pt x="53" y="143"/>
                    <a:pt x="53" y="143"/>
                  </a:cubicBezTo>
                  <a:cubicBezTo>
                    <a:pt x="90" y="143"/>
                    <a:pt x="90" y="143"/>
                    <a:pt x="90" y="143"/>
                  </a:cubicBezTo>
                  <a:cubicBezTo>
                    <a:pt x="90" y="104"/>
                    <a:pt x="90" y="104"/>
                    <a:pt x="90" y="104"/>
                  </a:cubicBezTo>
                  <a:cubicBezTo>
                    <a:pt x="104" y="104"/>
                    <a:pt x="104" y="104"/>
                    <a:pt x="104" y="104"/>
                  </a:cubicBezTo>
                  <a:cubicBezTo>
                    <a:pt x="104" y="62"/>
                    <a:pt x="104" y="62"/>
                    <a:pt x="104" y="62"/>
                  </a:cubicBezTo>
                  <a:lnTo>
                    <a:pt x="103" y="62"/>
                  </a:lnTo>
                  <a:close/>
                  <a:moveTo>
                    <a:pt x="99" y="99"/>
                  </a:moveTo>
                  <a:cubicBezTo>
                    <a:pt x="90" y="99"/>
                    <a:pt x="90" y="99"/>
                    <a:pt x="90" y="99"/>
                  </a:cubicBezTo>
                  <a:cubicBezTo>
                    <a:pt x="90" y="72"/>
                    <a:pt x="90" y="72"/>
                    <a:pt x="90" y="72"/>
                  </a:cubicBezTo>
                  <a:cubicBezTo>
                    <a:pt x="85" y="72"/>
                    <a:pt x="85" y="72"/>
                    <a:pt x="85" y="72"/>
                  </a:cubicBezTo>
                  <a:cubicBezTo>
                    <a:pt x="85" y="138"/>
                    <a:pt x="85" y="138"/>
                    <a:pt x="85" y="138"/>
                  </a:cubicBezTo>
                  <a:cubicBezTo>
                    <a:pt x="74" y="138"/>
                    <a:pt x="74" y="138"/>
                    <a:pt x="74" y="138"/>
                  </a:cubicBezTo>
                  <a:cubicBezTo>
                    <a:pt x="74" y="106"/>
                    <a:pt x="74" y="106"/>
                    <a:pt x="74" y="106"/>
                  </a:cubicBezTo>
                  <a:cubicBezTo>
                    <a:pt x="69" y="106"/>
                    <a:pt x="69" y="106"/>
                    <a:pt x="69" y="106"/>
                  </a:cubicBezTo>
                  <a:cubicBezTo>
                    <a:pt x="69" y="138"/>
                    <a:pt x="69" y="138"/>
                    <a:pt x="69" y="138"/>
                  </a:cubicBezTo>
                  <a:cubicBezTo>
                    <a:pt x="58" y="138"/>
                    <a:pt x="58" y="138"/>
                    <a:pt x="58" y="138"/>
                  </a:cubicBezTo>
                  <a:cubicBezTo>
                    <a:pt x="58" y="72"/>
                    <a:pt x="58" y="72"/>
                    <a:pt x="58" y="72"/>
                  </a:cubicBezTo>
                  <a:cubicBezTo>
                    <a:pt x="53" y="72"/>
                    <a:pt x="53" y="72"/>
                    <a:pt x="53" y="72"/>
                  </a:cubicBezTo>
                  <a:cubicBezTo>
                    <a:pt x="53" y="99"/>
                    <a:pt x="53" y="99"/>
                    <a:pt x="53" y="99"/>
                  </a:cubicBezTo>
                  <a:cubicBezTo>
                    <a:pt x="44" y="99"/>
                    <a:pt x="44" y="99"/>
                    <a:pt x="44" y="99"/>
                  </a:cubicBezTo>
                  <a:cubicBezTo>
                    <a:pt x="44" y="62"/>
                    <a:pt x="44" y="62"/>
                    <a:pt x="44" y="62"/>
                  </a:cubicBezTo>
                  <a:cubicBezTo>
                    <a:pt x="44" y="54"/>
                    <a:pt x="51" y="46"/>
                    <a:pt x="60" y="46"/>
                  </a:cubicBezTo>
                  <a:cubicBezTo>
                    <a:pt x="83" y="46"/>
                    <a:pt x="83" y="46"/>
                    <a:pt x="83" y="46"/>
                  </a:cubicBezTo>
                  <a:cubicBezTo>
                    <a:pt x="92" y="46"/>
                    <a:pt x="99" y="53"/>
                    <a:pt x="99" y="62"/>
                  </a:cubicBezTo>
                  <a:cubicBezTo>
                    <a:pt x="99" y="99"/>
                    <a:pt x="99" y="99"/>
                    <a:pt x="99" y="99"/>
                  </a:cubicBezTo>
                  <a:close/>
                  <a:moveTo>
                    <a:pt x="71" y="37"/>
                  </a:moveTo>
                  <a:cubicBezTo>
                    <a:pt x="81" y="37"/>
                    <a:pt x="90" y="29"/>
                    <a:pt x="90" y="19"/>
                  </a:cubicBezTo>
                  <a:cubicBezTo>
                    <a:pt x="90" y="9"/>
                    <a:pt x="81" y="0"/>
                    <a:pt x="71" y="0"/>
                  </a:cubicBezTo>
                  <a:cubicBezTo>
                    <a:pt x="61" y="0"/>
                    <a:pt x="53" y="9"/>
                    <a:pt x="53" y="19"/>
                  </a:cubicBezTo>
                  <a:cubicBezTo>
                    <a:pt x="53" y="29"/>
                    <a:pt x="61" y="37"/>
                    <a:pt x="71" y="37"/>
                  </a:cubicBezTo>
                  <a:close/>
                  <a:moveTo>
                    <a:pt x="71" y="5"/>
                  </a:moveTo>
                  <a:cubicBezTo>
                    <a:pt x="79" y="5"/>
                    <a:pt x="85" y="11"/>
                    <a:pt x="85" y="19"/>
                  </a:cubicBezTo>
                  <a:cubicBezTo>
                    <a:pt x="85" y="26"/>
                    <a:pt x="79" y="33"/>
                    <a:pt x="71" y="33"/>
                  </a:cubicBezTo>
                  <a:cubicBezTo>
                    <a:pt x="64" y="33"/>
                    <a:pt x="58" y="26"/>
                    <a:pt x="58" y="19"/>
                  </a:cubicBezTo>
                  <a:cubicBezTo>
                    <a:pt x="58" y="11"/>
                    <a:pt x="64" y="5"/>
                    <a:pt x="71" y="5"/>
                  </a:cubicBezTo>
                  <a:close/>
                  <a:moveTo>
                    <a:pt x="44" y="123"/>
                  </a:moveTo>
                  <a:cubicBezTo>
                    <a:pt x="44" y="108"/>
                    <a:pt x="44" y="108"/>
                    <a:pt x="44" y="108"/>
                  </a:cubicBezTo>
                  <a:cubicBezTo>
                    <a:pt x="48" y="108"/>
                    <a:pt x="48" y="108"/>
                    <a:pt x="48" y="108"/>
                  </a:cubicBezTo>
                  <a:cubicBezTo>
                    <a:pt x="48" y="123"/>
                    <a:pt x="48" y="123"/>
                    <a:pt x="48" y="123"/>
                  </a:cubicBezTo>
                  <a:cubicBezTo>
                    <a:pt x="48" y="129"/>
                    <a:pt x="44" y="133"/>
                    <a:pt x="38" y="133"/>
                  </a:cubicBezTo>
                  <a:cubicBezTo>
                    <a:pt x="22" y="133"/>
                    <a:pt x="22" y="133"/>
                    <a:pt x="22" y="133"/>
                  </a:cubicBezTo>
                  <a:cubicBezTo>
                    <a:pt x="16" y="133"/>
                    <a:pt x="12" y="129"/>
                    <a:pt x="12" y="123"/>
                  </a:cubicBezTo>
                  <a:cubicBezTo>
                    <a:pt x="12" y="99"/>
                    <a:pt x="12" y="99"/>
                    <a:pt x="12" y="99"/>
                  </a:cubicBezTo>
                  <a:cubicBezTo>
                    <a:pt x="0" y="99"/>
                    <a:pt x="0" y="99"/>
                    <a:pt x="0" y="99"/>
                  </a:cubicBezTo>
                  <a:cubicBezTo>
                    <a:pt x="0" y="72"/>
                    <a:pt x="0" y="72"/>
                    <a:pt x="0" y="72"/>
                  </a:cubicBezTo>
                  <a:cubicBezTo>
                    <a:pt x="0" y="60"/>
                    <a:pt x="10" y="51"/>
                    <a:pt x="21" y="51"/>
                  </a:cubicBezTo>
                  <a:cubicBezTo>
                    <a:pt x="37" y="51"/>
                    <a:pt x="37" y="51"/>
                    <a:pt x="37" y="51"/>
                  </a:cubicBezTo>
                  <a:cubicBezTo>
                    <a:pt x="37" y="55"/>
                    <a:pt x="37" y="55"/>
                    <a:pt x="37" y="55"/>
                  </a:cubicBezTo>
                  <a:cubicBezTo>
                    <a:pt x="21" y="55"/>
                    <a:pt x="21" y="55"/>
                    <a:pt x="21" y="55"/>
                  </a:cubicBezTo>
                  <a:cubicBezTo>
                    <a:pt x="12" y="55"/>
                    <a:pt x="5" y="63"/>
                    <a:pt x="5" y="72"/>
                  </a:cubicBezTo>
                  <a:cubicBezTo>
                    <a:pt x="5" y="95"/>
                    <a:pt x="5" y="95"/>
                    <a:pt x="5" y="95"/>
                  </a:cubicBezTo>
                  <a:cubicBezTo>
                    <a:pt x="12" y="95"/>
                    <a:pt x="12" y="95"/>
                    <a:pt x="12" y="95"/>
                  </a:cubicBezTo>
                  <a:cubicBezTo>
                    <a:pt x="12" y="78"/>
                    <a:pt x="12" y="78"/>
                    <a:pt x="12" y="78"/>
                  </a:cubicBezTo>
                  <a:cubicBezTo>
                    <a:pt x="16" y="78"/>
                    <a:pt x="16" y="78"/>
                    <a:pt x="16" y="78"/>
                  </a:cubicBezTo>
                  <a:cubicBezTo>
                    <a:pt x="16" y="123"/>
                    <a:pt x="16" y="123"/>
                    <a:pt x="16" y="123"/>
                  </a:cubicBezTo>
                  <a:cubicBezTo>
                    <a:pt x="16" y="126"/>
                    <a:pt x="19" y="129"/>
                    <a:pt x="22" y="129"/>
                  </a:cubicBezTo>
                  <a:cubicBezTo>
                    <a:pt x="28" y="129"/>
                    <a:pt x="28" y="129"/>
                    <a:pt x="28" y="129"/>
                  </a:cubicBezTo>
                  <a:cubicBezTo>
                    <a:pt x="28" y="101"/>
                    <a:pt x="28" y="101"/>
                    <a:pt x="28" y="101"/>
                  </a:cubicBezTo>
                  <a:cubicBezTo>
                    <a:pt x="32" y="101"/>
                    <a:pt x="32" y="101"/>
                    <a:pt x="32" y="101"/>
                  </a:cubicBezTo>
                  <a:cubicBezTo>
                    <a:pt x="32" y="129"/>
                    <a:pt x="32" y="129"/>
                    <a:pt x="32" y="129"/>
                  </a:cubicBezTo>
                  <a:cubicBezTo>
                    <a:pt x="38" y="129"/>
                    <a:pt x="38" y="129"/>
                    <a:pt x="38" y="129"/>
                  </a:cubicBezTo>
                  <a:cubicBezTo>
                    <a:pt x="41" y="129"/>
                    <a:pt x="44" y="126"/>
                    <a:pt x="44" y="123"/>
                  </a:cubicBezTo>
                  <a:close/>
                  <a:moveTo>
                    <a:pt x="30" y="46"/>
                  </a:moveTo>
                  <a:cubicBezTo>
                    <a:pt x="40" y="46"/>
                    <a:pt x="48" y="38"/>
                    <a:pt x="48" y="28"/>
                  </a:cubicBezTo>
                  <a:cubicBezTo>
                    <a:pt x="48" y="18"/>
                    <a:pt x="40" y="10"/>
                    <a:pt x="30" y="10"/>
                  </a:cubicBezTo>
                  <a:cubicBezTo>
                    <a:pt x="20" y="10"/>
                    <a:pt x="12" y="18"/>
                    <a:pt x="12" y="28"/>
                  </a:cubicBezTo>
                  <a:cubicBezTo>
                    <a:pt x="12" y="38"/>
                    <a:pt x="20" y="46"/>
                    <a:pt x="30" y="46"/>
                  </a:cubicBezTo>
                  <a:close/>
                  <a:moveTo>
                    <a:pt x="30" y="14"/>
                  </a:moveTo>
                  <a:cubicBezTo>
                    <a:pt x="38" y="14"/>
                    <a:pt x="44" y="20"/>
                    <a:pt x="44" y="28"/>
                  </a:cubicBezTo>
                  <a:cubicBezTo>
                    <a:pt x="44" y="36"/>
                    <a:pt x="38" y="42"/>
                    <a:pt x="30" y="42"/>
                  </a:cubicBezTo>
                  <a:cubicBezTo>
                    <a:pt x="22" y="42"/>
                    <a:pt x="16" y="36"/>
                    <a:pt x="16" y="28"/>
                  </a:cubicBezTo>
                  <a:cubicBezTo>
                    <a:pt x="16" y="20"/>
                    <a:pt x="22" y="14"/>
                    <a:pt x="30" y="14"/>
                  </a:cubicBezTo>
                  <a:close/>
                  <a:moveTo>
                    <a:pt x="142" y="72"/>
                  </a:moveTo>
                  <a:cubicBezTo>
                    <a:pt x="142" y="99"/>
                    <a:pt x="142" y="99"/>
                    <a:pt x="142" y="99"/>
                  </a:cubicBezTo>
                  <a:cubicBezTo>
                    <a:pt x="131" y="99"/>
                    <a:pt x="131" y="99"/>
                    <a:pt x="131" y="99"/>
                  </a:cubicBezTo>
                  <a:cubicBezTo>
                    <a:pt x="131" y="123"/>
                    <a:pt x="131" y="123"/>
                    <a:pt x="131" y="123"/>
                  </a:cubicBezTo>
                  <a:cubicBezTo>
                    <a:pt x="131" y="129"/>
                    <a:pt x="126" y="134"/>
                    <a:pt x="121" y="134"/>
                  </a:cubicBezTo>
                  <a:cubicBezTo>
                    <a:pt x="105" y="134"/>
                    <a:pt x="105" y="134"/>
                    <a:pt x="105" y="134"/>
                  </a:cubicBezTo>
                  <a:cubicBezTo>
                    <a:pt x="99" y="134"/>
                    <a:pt x="94" y="129"/>
                    <a:pt x="94" y="123"/>
                  </a:cubicBezTo>
                  <a:cubicBezTo>
                    <a:pt x="94" y="108"/>
                    <a:pt x="94" y="108"/>
                    <a:pt x="94" y="108"/>
                  </a:cubicBezTo>
                  <a:cubicBezTo>
                    <a:pt x="99" y="108"/>
                    <a:pt x="99" y="108"/>
                    <a:pt x="99" y="108"/>
                  </a:cubicBezTo>
                  <a:cubicBezTo>
                    <a:pt x="99" y="123"/>
                    <a:pt x="99" y="123"/>
                    <a:pt x="99" y="123"/>
                  </a:cubicBezTo>
                  <a:cubicBezTo>
                    <a:pt x="99" y="126"/>
                    <a:pt x="101" y="129"/>
                    <a:pt x="105" y="129"/>
                  </a:cubicBezTo>
                  <a:cubicBezTo>
                    <a:pt x="110" y="129"/>
                    <a:pt x="110" y="129"/>
                    <a:pt x="110" y="129"/>
                  </a:cubicBezTo>
                  <a:cubicBezTo>
                    <a:pt x="110" y="101"/>
                    <a:pt x="110" y="101"/>
                    <a:pt x="110" y="101"/>
                  </a:cubicBezTo>
                  <a:cubicBezTo>
                    <a:pt x="115" y="101"/>
                    <a:pt x="115" y="101"/>
                    <a:pt x="115" y="101"/>
                  </a:cubicBezTo>
                  <a:cubicBezTo>
                    <a:pt x="115" y="129"/>
                    <a:pt x="115" y="129"/>
                    <a:pt x="115" y="129"/>
                  </a:cubicBezTo>
                  <a:cubicBezTo>
                    <a:pt x="121" y="129"/>
                    <a:pt x="121" y="129"/>
                    <a:pt x="121" y="129"/>
                  </a:cubicBezTo>
                  <a:cubicBezTo>
                    <a:pt x="124" y="129"/>
                    <a:pt x="126" y="126"/>
                    <a:pt x="126" y="123"/>
                  </a:cubicBezTo>
                  <a:cubicBezTo>
                    <a:pt x="126" y="78"/>
                    <a:pt x="126" y="78"/>
                    <a:pt x="126" y="78"/>
                  </a:cubicBezTo>
                  <a:cubicBezTo>
                    <a:pt x="131" y="78"/>
                    <a:pt x="131" y="78"/>
                    <a:pt x="131" y="78"/>
                  </a:cubicBezTo>
                  <a:cubicBezTo>
                    <a:pt x="131" y="95"/>
                    <a:pt x="131" y="95"/>
                    <a:pt x="131" y="95"/>
                  </a:cubicBezTo>
                  <a:cubicBezTo>
                    <a:pt x="138" y="95"/>
                    <a:pt x="138" y="95"/>
                    <a:pt x="138" y="95"/>
                  </a:cubicBezTo>
                  <a:cubicBezTo>
                    <a:pt x="138" y="72"/>
                    <a:pt x="138" y="72"/>
                    <a:pt x="138" y="72"/>
                  </a:cubicBezTo>
                  <a:cubicBezTo>
                    <a:pt x="138" y="63"/>
                    <a:pt x="131" y="55"/>
                    <a:pt x="122" y="55"/>
                  </a:cubicBezTo>
                  <a:cubicBezTo>
                    <a:pt x="106" y="55"/>
                    <a:pt x="106" y="55"/>
                    <a:pt x="106" y="55"/>
                  </a:cubicBezTo>
                  <a:cubicBezTo>
                    <a:pt x="106" y="51"/>
                    <a:pt x="106" y="51"/>
                    <a:pt x="106" y="51"/>
                  </a:cubicBezTo>
                  <a:cubicBezTo>
                    <a:pt x="122" y="51"/>
                    <a:pt x="122" y="51"/>
                    <a:pt x="122" y="51"/>
                  </a:cubicBezTo>
                  <a:cubicBezTo>
                    <a:pt x="133" y="51"/>
                    <a:pt x="142" y="60"/>
                    <a:pt x="142" y="72"/>
                  </a:cubicBezTo>
                  <a:close/>
                  <a:moveTo>
                    <a:pt x="113" y="46"/>
                  </a:moveTo>
                  <a:cubicBezTo>
                    <a:pt x="123" y="46"/>
                    <a:pt x="131" y="38"/>
                    <a:pt x="131" y="28"/>
                  </a:cubicBezTo>
                  <a:cubicBezTo>
                    <a:pt x="131" y="18"/>
                    <a:pt x="123" y="10"/>
                    <a:pt x="113" y="10"/>
                  </a:cubicBezTo>
                  <a:cubicBezTo>
                    <a:pt x="103" y="10"/>
                    <a:pt x="94" y="18"/>
                    <a:pt x="94" y="28"/>
                  </a:cubicBezTo>
                  <a:cubicBezTo>
                    <a:pt x="94" y="38"/>
                    <a:pt x="103" y="46"/>
                    <a:pt x="113" y="46"/>
                  </a:cubicBezTo>
                  <a:close/>
                  <a:moveTo>
                    <a:pt x="113" y="14"/>
                  </a:moveTo>
                  <a:cubicBezTo>
                    <a:pt x="120" y="14"/>
                    <a:pt x="126" y="20"/>
                    <a:pt x="126" y="28"/>
                  </a:cubicBezTo>
                  <a:cubicBezTo>
                    <a:pt x="126" y="36"/>
                    <a:pt x="120" y="42"/>
                    <a:pt x="113" y="42"/>
                  </a:cubicBezTo>
                  <a:cubicBezTo>
                    <a:pt x="105" y="42"/>
                    <a:pt x="99" y="36"/>
                    <a:pt x="99" y="28"/>
                  </a:cubicBezTo>
                  <a:cubicBezTo>
                    <a:pt x="99" y="20"/>
                    <a:pt x="105" y="14"/>
                    <a:pt x="113" y="14"/>
                  </a:cubicBezTo>
                  <a:close/>
                </a:path>
              </a:pathLst>
            </a:custGeom>
            <a:grpFill/>
            <a:ln>
              <a:solidFill>
                <a:srgbClr val="C3B69B"/>
              </a:solidFill>
            </a:ln>
          </p:spPr>
          <p:txBody>
            <a:bodyPr vert="horz" wrap="square" lIns="68580" tIns="34290" rIns="68580" bIns="34290" numCol="1" anchor="t" anchorCtr="0" compatLnSpc="1">
              <a:prstTxWarp prst="textNoShape">
                <a:avLst/>
              </a:prstTxWarp>
            </a:bodyPr>
            <a:lstStyle/>
            <a:p>
              <a:pPr algn="ctr"/>
              <a:endParaRPr lang="en-US" sz="1350" dirty="0">
                <a:solidFill>
                  <a:prstClr val="black"/>
                </a:solidFill>
                <a:latin typeface="Calibri" panose="020F0502020204030204"/>
              </a:endParaRPr>
            </a:p>
          </p:txBody>
        </p:sp>
      </p:grpSp>
      <p:grpSp>
        <p:nvGrpSpPr>
          <p:cNvPr id="31" name="Group 30"/>
          <p:cNvGrpSpPr/>
          <p:nvPr/>
        </p:nvGrpSpPr>
        <p:grpSpPr>
          <a:xfrm>
            <a:off x="2981713" y="1360352"/>
            <a:ext cx="473963" cy="485315"/>
            <a:chOff x="2340351" y="1467461"/>
            <a:chExt cx="631950" cy="647087"/>
          </a:xfrm>
          <a:solidFill>
            <a:schemeClr val="bg1"/>
          </a:solidFill>
        </p:grpSpPr>
        <p:sp>
          <p:nvSpPr>
            <p:cNvPr id="46" name="Oval 166">
              <a:extLst>
                <a:ext uri="{FF2B5EF4-FFF2-40B4-BE49-F238E27FC236}">
                  <a16:creationId xmlns:a16="http://schemas.microsoft.com/office/drawing/2014/main" id="{665EA38D-0F70-42EC-B5B9-60598F0450CF}"/>
                </a:ext>
              </a:extLst>
            </p:cNvPr>
            <p:cNvSpPr>
              <a:spLocks noChangeArrowheads="1"/>
            </p:cNvSpPr>
            <p:nvPr/>
          </p:nvSpPr>
          <p:spPr bwMode="auto">
            <a:xfrm>
              <a:off x="2340351" y="1467461"/>
              <a:ext cx="631950" cy="647087"/>
            </a:xfrm>
            <a:prstGeom prst="ellipse">
              <a:avLst/>
            </a:prstGeom>
            <a:grpFill/>
            <a:ln>
              <a:solidFill>
                <a:schemeClr val="tx2"/>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sp>
          <p:nvSpPr>
            <p:cNvPr id="47" name="Freeform 190">
              <a:extLst>
                <a:ext uri="{FF2B5EF4-FFF2-40B4-BE49-F238E27FC236}">
                  <a16:creationId xmlns:a16="http://schemas.microsoft.com/office/drawing/2014/main" id="{CBD170B8-4114-4C76-8564-DA396FB9BA88}"/>
                </a:ext>
              </a:extLst>
            </p:cNvPr>
            <p:cNvSpPr>
              <a:spLocks noEditPoints="1"/>
            </p:cNvSpPr>
            <p:nvPr/>
          </p:nvSpPr>
          <p:spPr bwMode="auto">
            <a:xfrm>
              <a:off x="2454674" y="1532495"/>
              <a:ext cx="447764" cy="468244"/>
            </a:xfrm>
            <a:custGeom>
              <a:avLst/>
              <a:gdLst>
                <a:gd name="T0" fmla="*/ 102 w 141"/>
                <a:gd name="T1" fmla="*/ 88 h 144"/>
                <a:gd name="T2" fmla="*/ 112 w 141"/>
                <a:gd name="T3" fmla="*/ 90 h 144"/>
                <a:gd name="T4" fmla="*/ 100 w 141"/>
                <a:gd name="T5" fmla="*/ 98 h 144"/>
                <a:gd name="T6" fmla="*/ 136 w 141"/>
                <a:gd name="T7" fmla="*/ 141 h 144"/>
                <a:gd name="T8" fmla="*/ 118 w 141"/>
                <a:gd name="T9" fmla="*/ 125 h 144"/>
                <a:gd name="T10" fmla="*/ 120 w 141"/>
                <a:gd name="T11" fmla="*/ 121 h 144"/>
                <a:gd name="T12" fmla="*/ 109 w 141"/>
                <a:gd name="T13" fmla="*/ 143 h 144"/>
                <a:gd name="T14" fmla="*/ 1 w 141"/>
                <a:gd name="T15" fmla="*/ 110 h 144"/>
                <a:gd name="T16" fmla="*/ 33 w 141"/>
                <a:gd name="T17" fmla="*/ 69 h 144"/>
                <a:gd name="T18" fmla="*/ 53 w 141"/>
                <a:gd name="T19" fmla="*/ 89 h 144"/>
                <a:gd name="T20" fmla="*/ 69 w 141"/>
                <a:gd name="T21" fmla="*/ 78 h 144"/>
                <a:gd name="T22" fmla="*/ 69 w 141"/>
                <a:gd name="T23" fmla="*/ 103 h 144"/>
                <a:gd name="T24" fmla="*/ 106 w 141"/>
                <a:gd name="T25" fmla="*/ 78 h 144"/>
                <a:gd name="T26" fmla="*/ 133 w 141"/>
                <a:gd name="T27" fmla="*/ 100 h 144"/>
                <a:gd name="T28" fmla="*/ 126 w 141"/>
                <a:gd name="T29" fmla="*/ 121 h 144"/>
                <a:gd name="T30" fmla="*/ 138 w 141"/>
                <a:gd name="T31" fmla="*/ 132 h 144"/>
                <a:gd name="T32" fmla="*/ 110 w 141"/>
                <a:gd name="T33" fmla="*/ 82 h 144"/>
                <a:gd name="T34" fmla="*/ 110 w 141"/>
                <a:gd name="T35" fmla="*/ 118 h 144"/>
                <a:gd name="T36" fmla="*/ 110 w 141"/>
                <a:gd name="T37" fmla="*/ 82 h 144"/>
                <a:gd name="T38" fmla="*/ 59 w 141"/>
                <a:gd name="T39" fmla="*/ 126 h 144"/>
                <a:gd name="T40" fmla="*/ 61 w 141"/>
                <a:gd name="T41" fmla="*/ 89 h 144"/>
                <a:gd name="T42" fmla="*/ 56 w 141"/>
                <a:gd name="T43" fmla="*/ 83 h 144"/>
                <a:gd name="T44" fmla="*/ 52 w 141"/>
                <a:gd name="T45" fmla="*/ 110 h 144"/>
                <a:gd name="T46" fmla="*/ 105 w 141"/>
                <a:gd name="T47" fmla="*/ 138 h 144"/>
                <a:gd name="T48" fmla="*/ 87 w 141"/>
                <a:gd name="T49" fmla="*/ 100 h 144"/>
                <a:gd name="T50" fmla="*/ 87 w 141"/>
                <a:gd name="T51" fmla="*/ 74 h 144"/>
                <a:gd name="T52" fmla="*/ 31 w 141"/>
                <a:gd name="T53" fmla="*/ 74 h 144"/>
                <a:gd name="T54" fmla="*/ 6 w 141"/>
                <a:gd name="T55" fmla="*/ 109 h 144"/>
                <a:gd name="T56" fmla="*/ 25 w 141"/>
                <a:gd name="T57" fmla="*/ 138 h 144"/>
                <a:gd name="T58" fmla="*/ 29 w 141"/>
                <a:gd name="T59" fmla="*/ 124 h 144"/>
                <a:gd name="T60" fmla="*/ 89 w 141"/>
                <a:gd name="T61" fmla="*/ 138 h 144"/>
                <a:gd name="T62" fmla="*/ 93 w 141"/>
                <a:gd name="T63" fmla="*/ 124 h 144"/>
                <a:gd name="T64" fmla="*/ 135 w 141"/>
                <a:gd name="T65" fmla="*/ 134 h 144"/>
                <a:gd name="T66" fmla="*/ 124 w 141"/>
                <a:gd name="T67" fmla="*/ 127 h 144"/>
                <a:gd name="T68" fmla="*/ 134 w 141"/>
                <a:gd name="T69" fmla="*/ 138 h 144"/>
                <a:gd name="T70" fmla="*/ 29 w 141"/>
                <a:gd name="T71" fmla="*/ 30 h 144"/>
                <a:gd name="T72" fmla="*/ 89 w 141"/>
                <a:gd name="T73" fmla="*/ 30 h 144"/>
                <a:gd name="T74" fmla="*/ 29 w 141"/>
                <a:gd name="T75" fmla="*/ 30 h 144"/>
                <a:gd name="T76" fmla="*/ 64 w 141"/>
                <a:gd name="T77" fmla="*/ 13 h 144"/>
                <a:gd name="T78" fmla="*/ 68 w 141"/>
                <a:gd name="T79" fmla="*/ 13 h 144"/>
                <a:gd name="T80" fmla="*/ 80 w 141"/>
                <a:gd name="T81" fmla="*/ 16 h 144"/>
                <a:gd name="T82" fmla="*/ 37 w 141"/>
                <a:gd name="T83" fmla="*/ 18 h 144"/>
                <a:gd name="T84" fmla="*/ 59 w 141"/>
                <a:gd name="T85" fmla="*/ 69 h 144"/>
                <a:gd name="T86" fmla="*/ 82 w 141"/>
                <a:gd name="T87" fmla="*/ 20 h 144"/>
                <a:gd name="T88" fmla="*/ 66 w 141"/>
                <a:gd name="T89" fmla="*/ 18 h 144"/>
                <a:gd name="T90" fmla="*/ 35 w 141"/>
                <a:gd name="T91" fmla="*/ 2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44">
                  <a:moveTo>
                    <a:pt x="96" y="97"/>
                  </a:moveTo>
                  <a:cubicBezTo>
                    <a:pt x="97" y="93"/>
                    <a:pt x="99" y="90"/>
                    <a:pt x="102" y="88"/>
                  </a:cubicBezTo>
                  <a:cubicBezTo>
                    <a:pt x="106" y="85"/>
                    <a:pt x="109" y="85"/>
                    <a:pt x="113" y="86"/>
                  </a:cubicBezTo>
                  <a:cubicBezTo>
                    <a:pt x="112" y="90"/>
                    <a:pt x="112" y="90"/>
                    <a:pt x="112" y="90"/>
                  </a:cubicBezTo>
                  <a:cubicBezTo>
                    <a:pt x="110" y="89"/>
                    <a:pt x="107" y="90"/>
                    <a:pt x="105" y="91"/>
                  </a:cubicBezTo>
                  <a:cubicBezTo>
                    <a:pt x="102" y="93"/>
                    <a:pt x="101" y="95"/>
                    <a:pt x="100" y="98"/>
                  </a:cubicBezTo>
                  <a:lnTo>
                    <a:pt x="96" y="97"/>
                  </a:lnTo>
                  <a:close/>
                  <a:moveTo>
                    <a:pt x="136" y="141"/>
                  </a:moveTo>
                  <a:cubicBezTo>
                    <a:pt x="132" y="144"/>
                    <a:pt x="129" y="142"/>
                    <a:pt x="127" y="139"/>
                  </a:cubicBezTo>
                  <a:cubicBezTo>
                    <a:pt x="118" y="125"/>
                    <a:pt x="118" y="125"/>
                    <a:pt x="118" y="125"/>
                  </a:cubicBezTo>
                  <a:cubicBezTo>
                    <a:pt x="122" y="123"/>
                    <a:pt x="122" y="123"/>
                    <a:pt x="122" y="123"/>
                  </a:cubicBezTo>
                  <a:cubicBezTo>
                    <a:pt x="120" y="121"/>
                    <a:pt x="120" y="121"/>
                    <a:pt x="120" y="121"/>
                  </a:cubicBezTo>
                  <a:cubicBezTo>
                    <a:pt x="118" y="122"/>
                    <a:pt x="116" y="122"/>
                    <a:pt x="114" y="123"/>
                  </a:cubicBezTo>
                  <a:cubicBezTo>
                    <a:pt x="109" y="143"/>
                    <a:pt x="109" y="143"/>
                    <a:pt x="109" y="143"/>
                  </a:cubicBezTo>
                  <a:cubicBezTo>
                    <a:pt x="9" y="143"/>
                    <a:pt x="9" y="143"/>
                    <a:pt x="9" y="143"/>
                  </a:cubicBezTo>
                  <a:cubicBezTo>
                    <a:pt x="1" y="110"/>
                    <a:pt x="1" y="110"/>
                    <a:pt x="1" y="110"/>
                  </a:cubicBezTo>
                  <a:cubicBezTo>
                    <a:pt x="0" y="104"/>
                    <a:pt x="0" y="98"/>
                    <a:pt x="2" y="93"/>
                  </a:cubicBezTo>
                  <a:cubicBezTo>
                    <a:pt x="9" y="69"/>
                    <a:pt x="33" y="69"/>
                    <a:pt x="33" y="69"/>
                  </a:cubicBezTo>
                  <a:cubicBezTo>
                    <a:pt x="49" y="103"/>
                    <a:pt x="49" y="103"/>
                    <a:pt x="49" y="103"/>
                  </a:cubicBezTo>
                  <a:cubicBezTo>
                    <a:pt x="53" y="89"/>
                    <a:pt x="53" y="89"/>
                    <a:pt x="53" y="89"/>
                  </a:cubicBezTo>
                  <a:cubicBezTo>
                    <a:pt x="49" y="78"/>
                    <a:pt x="49" y="78"/>
                    <a:pt x="49" y="78"/>
                  </a:cubicBezTo>
                  <a:cubicBezTo>
                    <a:pt x="69" y="78"/>
                    <a:pt x="69" y="78"/>
                    <a:pt x="69" y="78"/>
                  </a:cubicBezTo>
                  <a:cubicBezTo>
                    <a:pt x="65" y="89"/>
                    <a:pt x="65" y="89"/>
                    <a:pt x="65" y="89"/>
                  </a:cubicBezTo>
                  <a:cubicBezTo>
                    <a:pt x="69" y="103"/>
                    <a:pt x="69" y="103"/>
                    <a:pt x="69" y="103"/>
                  </a:cubicBezTo>
                  <a:cubicBezTo>
                    <a:pt x="84" y="69"/>
                    <a:pt x="84" y="69"/>
                    <a:pt x="84" y="69"/>
                  </a:cubicBezTo>
                  <a:cubicBezTo>
                    <a:pt x="84" y="69"/>
                    <a:pt x="96" y="69"/>
                    <a:pt x="106" y="78"/>
                  </a:cubicBezTo>
                  <a:cubicBezTo>
                    <a:pt x="107" y="77"/>
                    <a:pt x="109" y="77"/>
                    <a:pt x="110" y="77"/>
                  </a:cubicBezTo>
                  <a:cubicBezTo>
                    <a:pt x="123" y="77"/>
                    <a:pt x="133" y="87"/>
                    <a:pt x="133" y="100"/>
                  </a:cubicBezTo>
                  <a:cubicBezTo>
                    <a:pt x="133" y="107"/>
                    <a:pt x="130" y="114"/>
                    <a:pt x="124" y="118"/>
                  </a:cubicBezTo>
                  <a:cubicBezTo>
                    <a:pt x="126" y="121"/>
                    <a:pt x="126" y="121"/>
                    <a:pt x="126" y="121"/>
                  </a:cubicBezTo>
                  <a:cubicBezTo>
                    <a:pt x="130" y="118"/>
                    <a:pt x="130" y="118"/>
                    <a:pt x="130" y="118"/>
                  </a:cubicBezTo>
                  <a:cubicBezTo>
                    <a:pt x="138" y="132"/>
                    <a:pt x="138" y="132"/>
                    <a:pt x="138" y="132"/>
                  </a:cubicBezTo>
                  <a:cubicBezTo>
                    <a:pt x="139" y="134"/>
                    <a:pt x="141" y="139"/>
                    <a:pt x="136" y="141"/>
                  </a:cubicBezTo>
                  <a:close/>
                  <a:moveTo>
                    <a:pt x="110" y="82"/>
                  </a:moveTo>
                  <a:cubicBezTo>
                    <a:pt x="100" y="82"/>
                    <a:pt x="92" y="90"/>
                    <a:pt x="92" y="100"/>
                  </a:cubicBezTo>
                  <a:cubicBezTo>
                    <a:pt x="92" y="110"/>
                    <a:pt x="100" y="118"/>
                    <a:pt x="110" y="118"/>
                  </a:cubicBezTo>
                  <a:cubicBezTo>
                    <a:pt x="120" y="118"/>
                    <a:pt x="128" y="110"/>
                    <a:pt x="128" y="100"/>
                  </a:cubicBezTo>
                  <a:cubicBezTo>
                    <a:pt x="128" y="90"/>
                    <a:pt x="120" y="82"/>
                    <a:pt x="110" y="82"/>
                  </a:cubicBezTo>
                  <a:close/>
                  <a:moveTo>
                    <a:pt x="52" y="110"/>
                  </a:moveTo>
                  <a:cubicBezTo>
                    <a:pt x="59" y="126"/>
                    <a:pt x="59" y="126"/>
                    <a:pt x="59" y="126"/>
                  </a:cubicBezTo>
                  <a:cubicBezTo>
                    <a:pt x="66" y="110"/>
                    <a:pt x="66" y="110"/>
                    <a:pt x="66" y="110"/>
                  </a:cubicBezTo>
                  <a:cubicBezTo>
                    <a:pt x="61" y="89"/>
                    <a:pt x="61" y="89"/>
                    <a:pt x="61" y="89"/>
                  </a:cubicBezTo>
                  <a:cubicBezTo>
                    <a:pt x="62" y="83"/>
                    <a:pt x="62" y="83"/>
                    <a:pt x="62" y="83"/>
                  </a:cubicBezTo>
                  <a:cubicBezTo>
                    <a:pt x="56" y="83"/>
                    <a:pt x="56" y="83"/>
                    <a:pt x="56" y="83"/>
                  </a:cubicBezTo>
                  <a:cubicBezTo>
                    <a:pt x="57" y="89"/>
                    <a:pt x="57" y="89"/>
                    <a:pt x="57" y="89"/>
                  </a:cubicBezTo>
                  <a:lnTo>
                    <a:pt x="52" y="110"/>
                  </a:lnTo>
                  <a:close/>
                  <a:moveTo>
                    <a:pt x="93" y="138"/>
                  </a:moveTo>
                  <a:cubicBezTo>
                    <a:pt x="105" y="138"/>
                    <a:pt x="105" y="138"/>
                    <a:pt x="105" y="138"/>
                  </a:cubicBezTo>
                  <a:cubicBezTo>
                    <a:pt x="109" y="123"/>
                    <a:pt x="109" y="123"/>
                    <a:pt x="109" y="123"/>
                  </a:cubicBezTo>
                  <a:cubicBezTo>
                    <a:pt x="97" y="122"/>
                    <a:pt x="87" y="112"/>
                    <a:pt x="87" y="100"/>
                  </a:cubicBezTo>
                  <a:cubicBezTo>
                    <a:pt x="87" y="91"/>
                    <a:pt x="93" y="83"/>
                    <a:pt x="101" y="79"/>
                  </a:cubicBezTo>
                  <a:cubicBezTo>
                    <a:pt x="97" y="76"/>
                    <a:pt x="92" y="75"/>
                    <a:pt x="87" y="74"/>
                  </a:cubicBezTo>
                  <a:cubicBezTo>
                    <a:pt x="59" y="137"/>
                    <a:pt x="59" y="137"/>
                    <a:pt x="59" y="137"/>
                  </a:cubicBezTo>
                  <a:cubicBezTo>
                    <a:pt x="31" y="74"/>
                    <a:pt x="31" y="74"/>
                    <a:pt x="31" y="74"/>
                  </a:cubicBezTo>
                  <a:cubicBezTo>
                    <a:pt x="19" y="75"/>
                    <a:pt x="10" y="83"/>
                    <a:pt x="6" y="94"/>
                  </a:cubicBezTo>
                  <a:cubicBezTo>
                    <a:pt x="5" y="99"/>
                    <a:pt x="5" y="104"/>
                    <a:pt x="6" y="109"/>
                  </a:cubicBezTo>
                  <a:cubicBezTo>
                    <a:pt x="13" y="138"/>
                    <a:pt x="13" y="138"/>
                    <a:pt x="13" y="138"/>
                  </a:cubicBezTo>
                  <a:cubicBezTo>
                    <a:pt x="25" y="138"/>
                    <a:pt x="25" y="138"/>
                    <a:pt x="25" y="138"/>
                  </a:cubicBezTo>
                  <a:cubicBezTo>
                    <a:pt x="25" y="124"/>
                    <a:pt x="25" y="124"/>
                    <a:pt x="25" y="124"/>
                  </a:cubicBezTo>
                  <a:cubicBezTo>
                    <a:pt x="29" y="124"/>
                    <a:pt x="29" y="124"/>
                    <a:pt x="29" y="124"/>
                  </a:cubicBezTo>
                  <a:cubicBezTo>
                    <a:pt x="29" y="138"/>
                    <a:pt x="29" y="138"/>
                    <a:pt x="29" y="138"/>
                  </a:cubicBezTo>
                  <a:cubicBezTo>
                    <a:pt x="89" y="138"/>
                    <a:pt x="89" y="138"/>
                    <a:pt x="89" y="138"/>
                  </a:cubicBezTo>
                  <a:cubicBezTo>
                    <a:pt x="89" y="124"/>
                    <a:pt x="89" y="124"/>
                    <a:pt x="89" y="124"/>
                  </a:cubicBezTo>
                  <a:cubicBezTo>
                    <a:pt x="93" y="124"/>
                    <a:pt x="93" y="124"/>
                    <a:pt x="93" y="124"/>
                  </a:cubicBezTo>
                  <a:cubicBezTo>
                    <a:pt x="93" y="138"/>
                    <a:pt x="93" y="138"/>
                    <a:pt x="93" y="138"/>
                  </a:cubicBezTo>
                  <a:close/>
                  <a:moveTo>
                    <a:pt x="135" y="134"/>
                  </a:moveTo>
                  <a:cubicBezTo>
                    <a:pt x="128" y="124"/>
                    <a:pt x="128" y="124"/>
                    <a:pt x="128" y="124"/>
                  </a:cubicBezTo>
                  <a:cubicBezTo>
                    <a:pt x="124" y="127"/>
                    <a:pt x="124" y="127"/>
                    <a:pt x="124" y="127"/>
                  </a:cubicBezTo>
                  <a:cubicBezTo>
                    <a:pt x="131" y="137"/>
                    <a:pt x="131" y="137"/>
                    <a:pt x="131" y="137"/>
                  </a:cubicBezTo>
                  <a:cubicBezTo>
                    <a:pt x="131" y="138"/>
                    <a:pt x="133" y="138"/>
                    <a:pt x="134" y="138"/>
                  </a:cubicBezTo>
                  <a:cubicBezTo>
                    <a:pt x="135" y="137"/>
                    <a:pt x="135" y="135"/>
                    <a:pt x="135" y="134"/>
                  </a:cubicBezTo>
                  <a:close/>
                  <a:moveTo>
                    <a:pt x="29" y="30"/>
                  </a:moveTo>
                  <a:cubicBezTo>
                    <a:pt x="29" y="14"/>
                    <a:pt x="43" y="0"/>
                    <a:pt x="59" y="0"/>
                  </a:cubicBezTo>
                  <a:cubicBezTo>
                    <a:pt x="75" y="0"/>
                    <a:pt x="89" y="14"/>
                    <a:pt x="89" y="30"/>
                  </a:cubicBezTo>
                  <a:cubicBezTo>
                    <a:pt x="89" y="46"/>
                    <a:pt x="77" y="74"/>
                    <a:pt x="59" y="74"/>
                  </a:cubicBezTo>
                  <a:cubicBezTo>
                    <a:pt x="41" y="74"/>
                    <a:pt x="29" y="46"/>
                    <a:pt x="29" y="30"/>
                  </a:cubicBezTo>
                  <a:close/>
                  <a:moveTo>
                    <a:pt x="37" y="18"/>
                  </a:moveTo>
                  <a:cubicBezTo>
                    <a:pt x="42" y="20"/>
                    <a:pt x="55" y="25"/>
                    <a:pt x="64" y="13"/>
                  </a:cubicBezTo>
                  <a:cubicBezTo>
                    <a:pt x="66" y="10"/>
                    <a:pt x="66" y="10"/>
                    <a:pt x="66" y="10"/>
                  </a:cubicBezTo>
                  <a:cubicBezTo>
                    <a:pt x="68" y="13"/>
                    <a:pt x="68" y="13"/>
                    <a:pt x="68" y="13"/>
                  </a:cubicBezTo>
                  <a:cubicBezTo>
                    <a:pt x="69" y="16"/>
                    <a:pt x="72" y="18"/>
                    <a:pt x="74" y="19"/>
                  </a:cubicBezTo>
                  <a:cubicBezTo>
                    <a:pt x="76" y="19"/>
                    <a:pt x="78" y="18"/>
                    <a:pt x="80" y="16"/>
                  </a:cubicBezTo>
                  <a:cubicBezTo>
                    <a:pt x="75" y="9"/>
                    <a:pt x="68" y="5"/>
                    <a:pt x="59" y="5"/>
                  </a:cubicBezTo>
                  <a:cubicBezTo>
                    <a:pt x="50" y="5"/>
                    <a:pt x="41" y="10"/>
                    <a:pt x="37" y="18"/>
                  </a:cubicBezTo>
                  <a:close/>
                  <a:moveTo>
                    <a:pt x="34" y="30"/>
                  </a:moveTo>
                  <a:cubicBezTo>
                    <a:pt x="34" y="45"/>
                    <a:pt x="46" y="69"/>
                    <a:pt x="59" y="69"/>
                  </a:cubicBezTo>
                  <a:cubicBezTo>
                    <a:pt x="72" y="69"/>
                    <a:pt x="84" y="45"/>
                    <a:pt x="84" y="30"/>
                  </a:cubicBezTo>
                  <a:cubicBezTo>
                    <a:pt x="84" y="27"/>
                    <a:pt x="83" y="23"/>
                    <a:pt x="82" y="20"/>
                  </a:cubicBezTo>
                  <a:cubicBezTo>
                    <a:pt x="80" y="22"/>
                    <a:pt x="77" y="23"/>
                    <a:pt x="74" y="23"/>
                  </a:cubicBezTo>
                  <a:cubicBezTo>
                    <a:pt x="71" y="23"/>
                    <a:pt x="68" y="21"/>
                    <a:pt x="66" y="18"/>
                  </a:cubicBezTo>
                  <a:cubicBezTo>
                    <a:pt x="60" y="24"/>
                    <a:pt x="54" y="26"/>
                    <a:pt x="49" y="26"/>
                  </a:cubicBezTo>
                  <a:cubicBezTo>
                    <a:pt x="43" y="26"/>
                    <a:pt x="38" y="24"/>
                    <a:pt x="35" y="22"/>
                  </a:cubicBezTo>
                  <a:cubicBezTo>
                    <a:pt x="34" y="25"/>
                    <a:pt x="34" y="27"/>
                    <a:pt x="34" y="30"/>
                  </a:cubicBezTo>
                  <a:close/>
                </a:path>
              </a:pathLst>
            </a:custGeom>
            <a:solidFill>
              <a:srgbClr val="C3B69B"/>
            </a:solidFill>
            <a:ln>
              <a:solidFill>
                <a:srgbClr val="C3B69B"/>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grpSp>
      <p:sp>
        <p:nvSpPr>
          <p:cNvPr id="77" name="Oval 178">
            <a:extLst>
              <a:ext uri="{FF2B5EF4-FFF2-40B4-BE49-F238E27FC236}">
                <a16:creationId xmlns:a16="http://schemas.microsoft.com/office/drawing/2014/main" id="{3CF804A5-AC61-40E2-A73C-44F5F5D5AD19}"/>
              </a:ext>
            </a:extLst>
          </p:cNvPr>
          <p:cNvSpPr>
            <a:spLocks noChangeArrowheads="1"/>
          </p:cNvSpPr>
          <p:nvPr/>
        </p:nvSpPr>
        <p:spPr bwMode="auto">
          <a:xfrm>
            <a:off x="2970671" y="2809383"/>
            <a:ext cx="520039" cy="528004"/>
          </a:xfrm>
          <a:prstGeom prst="ellipse">
            <a:avLst/>
          </a:prstGeom>
          <a:solidFill>
            <a:schemeClr val="bg1"/>
          </a:solidFill>
          <a:ln>
            <a:solidFill>
              <a:schemeClr val="tx2"/>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sp>
        <p:nvSpPr>
          <p:cNvPr id="78" name="Freeform 187">
            <a:extLst>
              <a:ext uri="{FF2B5EF4-FFF2-40B4-BE49-F238E27FC236}">
                <a16:creationId xmlns:a16="http://schemas.microsoft.com/office/drawing/2014/main" id="{B2C004F5-671C-4112-861D-D392688F3F0A}"/>
              </a:ext>
            </a:extLst>
          </p:cNvPr>
          <p:cNvSpPr>
            <a:spLocks noEditPoints="1"/>
          </p:cNvSpPr>
          <p:nvPr/>
        </p:nvSpPr>
        <p:spPr bwMode="auto">
          <a:xfrm rot="172713">
            <a:off x="3077139" y="2882717"/>
            <a:ext cx="324044" cy="381336"/>
          </a:xfrm>
          <a:custGeom>
            <a:avLst/>
            <a:gdLst>
              <a:gd name="T0" fmla="*/ 25 w 124"/>
              <a:gd name="T1" fmla="*/ 58 h 143"/>
              <a:gd name="T2" fmla="*/ 0 w 124"/>
              <a:gd name="T3" fmla="*/ 101 h 143"/>
              <a:gd name="T4" fmla="*/ 11 w 124"/>
              <a:gd name="T5" fmla="*/ 143 h 143"/>
              <a:gd name="T6" fmla="*/ 50 w 124"/>
              <a:gd name="T7" fmla="*/ 120 h 143"/>
              <a:gd name="T8" fmla="*/ 25 w 124"/>
              <a:gd name="T9" fmla="*/ 62 h 143"/>
              <a:gd name="T10" fmla="*/ 14 w 124"/>
              <a:gd name="T11" fmla="*/ 74 h 143"/>
              <a:gd name="T12" fmla="*/ 39 w 124"/>
              <a:gd name="T13" fmla="*/ 115 h 143"/>
              <a:gd name="T14" fmla="*/ 34 w 124"/>
              <a:gd name="T15" fmla="*/ 138 h 143"/>
              <a:gd name="T16" fmla="*/ 23 w 124"/>
              <a:gd name="T17" fmla="*/ 122 h 143"/>
              <a:gd name="T18" fmla="*/ 16 w 124"/>
              <a:gd name="T19" fmla="*/ 104 h 143"/>
              <a:gd name="T20" fmla="*/ 4 w 124"/>
              <a:gd name="T21" fmla="*/ 115 h 143"/>
              <a:gd name="T22" fmla="*/ 25 w 124"/>
              <a:gd name="T23" fmla="*/ 90 h 143"/>
              <a:gd name="T24" fmla="*/ 46 w 124"/>
              <a:gd name="T25" fmla="*/ 115 h 143"/>
              <a:gd name="T26" fmla="*/ 98 w 124"/>
              <a:gd name="T27" fmla="*/ 58 h 143"/>
              <a:gd name="T28" fmla="*/ 73 w 124"/>
              <a:gd name="T29" fmla="*/ 101 h 143"/>
              <a:gd name="T30" fmla="*/ 85 w 124"/>
              <a:gd name="T31" fmla="*/ 143 h 143"/>
              <a:gd name="T32" fmla="*/ 124 w 124"/>
              <a:gd name="T33" fmla="*/ 120 h 143"/>
              <a:gd name="T34" fmla="*/ 98 w 124"/>
              <a:gd name="T35" fmla="*/ 62 h 143"/>
              <a:gd name="T36" fmla="*/ 87 w 124"/>
              <a:gd name="T37" fmla="*/ 74 h 143"/>
              <a:gd name="T38" fmla="*/ 112 w 124"/>
              <a:gd name="T39" fmla="*/ 115 h 143"/>
              <a:gd name="T40" fmla="*/ 108 w 124"/>
              <a:gd name="T41" fmla="*/ 138 h 143"/>
              <a:gd name="T42" fmla="*/ 96 w 124"/>
              <a:gd name="T43" fmla="*/ 122 h 143"/>
              <a:gd name="T44" fmla="*/ 89 w 124"/>
              <a:gd name="T45" fmla="*/ 104 h 143"/>
              <a:gd name="T46" fmla="*/ 78 w 124"/>
              <a:gd name="T47" fmla="*/ 115 h 143"/>
              <a:gd name="T48" fmla="*/ 98 w 124"/>
              <a:gd name="T49" fmla="*/ 90 h 143"/>
              <a:gd name="T50" fmla="*/ 119 w 124"/>
              <a:gd name="T51" fmla="*/ 115 h 143"/>
              <a:gd name="T52" fmla="*/ 96 w 124"/>
              <a:gd name="T53" fmla="*/ 46 h 143"/>
              <a:gd name="T54" fmla="*/ 96 w 124"/>
              <a:gd name="T55" fmla="*/ 10 h 143"/>
              <a:gd name="T56" fmla="*/ 69 w 124"/>
              <a:gd name="T57" fmla="*/ 0 h 143"/>
              <a:gd name="T58" fmla="*/ 20 w 124"/>
              <a:gd name="T59" fmla="*/ 30 h 143"/>
              <a:gd name="T60" fmla="*/ 30 w 124"/>
              <a:gd name="T61" fmla="*/ 46 h 143"/>
              <a:gd name="T62" fmla="*/ 48 w 124"/>
              <a:gd name="T63" fmla="*/ 39 h 143"/>
              <a:gd name="T64" fmla="*/ 92 w 124"/>
              <a:gd name="T65" fmla="*/ 55 h 143"/>
              <a:gd name="T66" fmla="*/ 40 w 124"/>
              <a:gd name="T67" fmla="*/ 32 h 143"/>
              <a:gd name="T68" fmla="*/ 27 w 124"/>
              <a:gd name="T69" fmla="*/ 32 h 143"/>
              <a:gd name="T70" fmla="*/ 27 w 124"/>
              <a:gd name="T71" fmla="*/ 5 h 143"/>
              <a:gd name="T72" fmla="*/ 71 w 124"/>
              <a:gd name="T73" fmla="*/ 10 h 143"/>
              <a:gd name="T74" fmla="*/ 53 w 124"/>
              <a:gd name="T75" fmla="*/ 39 h 143"/>
              <a:gd name="T76" fmla="*/ 96 w 124"/>
              <a:gd name="T77" fmla="*/ 14 h 143"/>
              <a:gd name="T78" fmla="*/ 96 w 124"/>
              <a:gd name="T79" fmla="*/ 42 h 143"/>
              <a:gd name="T80" fmla="*/ 81 w 124"/>
              <a:gd name="T81" fmla="*/ 42 h 143"/>
              <a:gd name="T82" fmla="*/ 73 w 124"/>
              <a:gd name="T83" fmla="*/ 26 h 143"/>
              <a:gd name="T84" fmla="*/ 73 w 124"/>
              <a:gd name="T85" fmla="*/ 30 h 143"/>
              <a:gd name="T86" fmla="*/ 87 w 124"/>
              <a:gd name="T87" fmla="*/ 26 h 143"/>
              <a:gd name="T88" fmla="*/ 82 w 124"/>
              <a:gd name="T89" fmla="*/ 26 h 143"/>
              <a:gd name="T90" fmla="*/ 69 w 124"/>
              <a:gd name="T91" fmla="*/ 3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4" h="143">
                <a:moveTo>
                  <a:pt x="38" y="83"/>
                </a:moveTo>
                <a:cubicBezTo>
                  <a:pt x="40" y="80"/>
                  <a:pt x="41" y="77"/>
                  <a:pt x="41" y="74"/>
                </a:cubicBezTo>
                <a:cubicBezTo>
                  <a:pt x="41" y="65"/>
                  <a:pt x="34" y="58"/>
                  <a:pt x="25" y="58"/>
                </a:cubicBezTo>
                <a:cubicBezTo>
                  <a:pt x="16" y="58"/>
                  <a:pt x="9" y="65"/>
                  <a:pt x="9" y="74"/>
                </a:cubicBezTo>
                <a:cubicBezTo>
                  <a:pt x="9" y="77"/>
                  <a:pt x="10" y="80"/>
                  <a:pt x="12" y="83"/>
                </a:cubicBezTo>
                <a:cubicBezTo>
                  <a:pt x="5" y="86"/>
                  <a:pt x="0" y="93"/>
                  <a:pt x="0" y="101"/>
                </a:cubicBezTo>
                <a:cubicBezTo>
                  <a:pt x="0" y="120"/>
                  <a:pt x="0" y="120"/>
                  <a:pt x="0" y="120"/>
                </a:cubicBezTo>
                <a:cubicBezTo>
                  <a:pt x="11" y="120"/>
                  <a:pt x="11" y="120"/>
                  <a:pt x="11" y="120"/>
                </a:cubicBezTo>
                <a:cubicBezTo>
                  <a:pt x="11" y="143"/>
                  <a:pt x="11" y="143"/>
                  <a:pt x="11" y="143"/>
                </a:cubicBezTo>
                <a:cubicBezTo>
                  <a:pt x="39" y="143"/>
                  <a:pt x="39" y="143"/>
                  <a:pt x="39" y="143"/>
                </a:cubicBezTo>
                <a:cubicBezTo>
                  <a:pt x="39" y="120"/>
                  <a:pt x="39" y="120"/>
                  <a:pt x="39" y="120"/>
                </a:cubicBezTo>
                <a:cubicBezTo>
                  <a:pt x="50" y="120"/>
                  <a:pt x="50" y="120"/>
                  <a:pt x="50" y="120"/>
                </a:cubicBezTo>
                <a:cubicBezTo>
                  <a:pt x="50" y="101"/>
                  <a:pt x="50" y="101"/>
                  <a:pt x="50" y="101"/>
                </a:cubicBezTo>
                <a:cubicBezTo>
                  <a:pt x="50" y="93"/>
                  <a:pt x="46" y="86"/>
                  <a:pt x="38" y="83"/>
                </a:cubicBezTo>
                <a:close/>
                <a:moveTo>
                  <a:pt x="25" y="62"/>
                </a:moveTo>
                <a:cubicBezTo>
                  <a:pt x="31" y="62"/>
                  <a:pt x="37" y="67"/>
                  <a:pt x="37" y="74"/>
                </a:cubicBezTo>
                <a:cubicBezTo>
                  <a:pt x="37" y="80"/>
                  <a:pt x="31" y="85"/>
                  <a:pt x="25" y="85"/>
                </a:cubicBezTo>
                <a:cubicBezTo>
                  <a:pt x="19" y="85"/>
                  <a:pt x="14" y="80"/>
                  <a:pt x="14" y="74"/>
                </a:cubicBezTo>
                <a:cubicBezTo>
                  <a:pt x="14" y="67"/>
                  <a:pt x="19" y="62"/>
                  <a:pt x="25" y="62"/>
                </a:cubicBezTo>
                <a:close/>
                <a:moveTo>
                  <a:pt x="46" y="115"/>
                </a:moveTo>
                <a:cubicBezTo>
                  <a:pt x="39" y="115"/>
                  <a:pt x="39" y="115"/>
                  <a:pt x="39" y="115"/>
                </a:cubicBezTo>
                <a:cubicBezTo>
                  <a:pt x="39" y="104"/>
                  <a:pt x="39" y="104"/>
                  <a:pt x="39" y="104"/>
                </a:cubicBezTo>
                <a:cubicBezTo>
                  <a:pt x="34" y="104"/>
                  <a:pt x="34" y="104"/>
                  <a:pt x="34" y="104"/>
                </a:cubicBezTo>
                <a:cubicBezTo>
                  <a:pt x="34" y="138"/>
                  <a:pt x="34" y="138"/>
                  <a:pt x="34" y="138"/>
                </a:cubicBezTo>
                <a:cubicBezTo>
                  <a:pt x="27" y="138"/>
                  <a:pt x="27" y="138"/>
                  <a:pt x="27" y="138"/>
                </a:cubicBezTo>
                <a:cubicBezTo>
                  <a:pt x="27" y="122"/>
                  <a:pt x="27" y="122"/>
                  <a:pt x="27" y="122"/>
                </a:cubicBezTo>
                <a:cubicBezTo>
                  <a:pt x="23" y="122"/>
                  <a:pt x="23" y="122"/>
                  <a:pt x="23" y="122"/>
                </a:cubicBezTo>
                <a:cubicBezTo>
                  <a:pt x="23" y="138"/>
                  <a:pt x="23" y="138"/>
                  <a:pt x="23" y="138"/>
                </a:cubicBezTo>
                <a:cubicBezTo>
                  <a:pt x="16" y="138"/>
                  <a:pt x="16" y="138"/>
                  <a:pt x="16" y="138"/>
                </a:cubicBezTo>
                <a:cubicBezTo>
                  <a:pt x="16" y="104"/>
                  <a:pt x="16" y="104"/>
                  <a:pt x="16" y="104"/>
                </a:cubicBezTo>
                <a:cubicBezTo>
                  <a:pt x="11" y="104"/>
                  <a:pt x="11" y="104"/>
                  <a:pt x="11" y="104"/>
                </a:cubicBezTo>
                <a:cubicBezTo>
                  <a:pt x="11" y="115"/>
                  <a:pt x="11" y="115"/>
                  <a:pt x="11" y="115"/>
                </a:cubicBezTo>
                <a:cubicBezTo>
                  <a:pt x="4" y="115"/>
                  <a:pt x="4" y="115"/>
                  <a:pt x="4" y="115"/>
                </a:cubicBezTo>
                <a:cubicBezTo>
                  <a:pt x="4" y="101"/>
                  <a:pt x="4" y="101"/>
                  <a:pt x="4" y="101"/>
                </a:cubicBezTo>
                <a:cubicBezTo>
                  <a:pt x="4" y="95"/>
                  <a:pt x="9" y="89"/>
                  <a:pt x="15" y="86"/>
                </a:cubicBezTo>
                <a:cubicBezTo>
                  <a:pt x="18" y="89"/>
                  <a:pt x="21" y="90"/>
                  <a:pt x="25" y="90"/>
                </a:cubicBezTo>
                <a:cubicBezTo>
                  <a:pt x="29" y="90"/>
                  <a:pt x="32" y="89"/>
                  <a:pt x="35" y="86"/>
                </a:cubicBezTo>
                <a:cubicBezTo>
                  <a:pt x="41" y="89"/>
                  <a:pt x="46" y="95"/>
                  <a:pt x="46" y="101"/>
                </a:cubicBezTo>
                <a:lnTo>
                  <a:pt x="46" y="115"/>
                </a:lnTo>
                <a:close/>
                <a:moveTo>
                  <a:pt x="112" y="83"/>
                </a:moveTo>
                <a:cubicBezTo>
                  <a:pt x="114" y="80"/>
                  <a:pt x="115" y="77"/>
                  <a:pt x="115" y="74"/>
                </a:cubicBezTo>
                <a:cubicBezTo>
                  <a:pt x="115" y="65"/>
                  <a:pt x="107" y="58"/>
                  <a:pt x="98" y="58"/>
                </a:cubicBezTo>
                <a:cubicBezTo>
                  <a:pt x="90" y="58"/>
                  <a:pt x="82" y="65"/>
                  <a:pt x="82" y="74"/>
                </a:cubicBezTo>
                <a:cubicBezTo>
                  <a:pt x="82" y="77"/>
                  <a:pt x="83" y="80"/>
                  <a:pt x="85" y="83"/>
                </a:cubicBezTo>
                <a:cubicBezTo>
                  <a:pt x="78" y="86"/>
                  <a:pt x="73" y="93"/>
                  <a:pt x="73" y="101"/>
                </a:cubicBezTo>
                <a:cubicBezTo>
                  <a:pt x="73" y="120"/>
                  <a:pt x="73" y="120"/>
                  <a:pt x="73" y="120"/>
                </a:cubicBezTo>
                <a:cubicBezTo>
                  <a:pt x="85" y="120"/>
                  <a:pt x="85" y="120"/>
                  <a:pt x="85" y="120"/>
                </a:cubicBezTo>
                <a:cubicBezTo>
                  <a:pt x="85" y="143"/>
                  <a:pt x="85" y="143"/>
                  <a:pt x="85" y="143"/>
                </a:cubicBezTo>
                <a:cubicBezTo>
                  <a:pt x="112" y="143"/>
                  <a:pt x="112" y="143"/>
                  <a:pt x="112" y="143"/>
                </a:cubicBezTo>
                <a:cubicBezTo>
                  <a:pt x="112" y="120"/>
                  <a:pt x="112" y="120"/>
                  <a:pt x="112" y="120"/>
                </a:cubicBezTo>
                <a:cubicBezTo>
                  <a:pt x="124" y="120"/>
                  <a:pt x="124" y="120"/>
                  <a:pt x="124" y="120"/>
                </a:cubicBezTo>
                <a:cubicBezTo>
                  <a:pt x="124" y="101"/>
                  <a:pt x="124" y="101"/>
                  <a:pt x="124" y="101"/>
                </a:cubicBezTo>
                <a:cubicBezTo>
                  <a:pt x="124" y="93"/>
                  <a:pt x="119" y="86"/>
                  <a:pt x="112" y="83"/>
                </a:cubicBezTo>
                <a:close/>
                <a:moveTo>
                  <a:pt x="98" y="62"/>
                </a:moveTo>
                <a:cubicBezTo>
                  <a:pt x="105" y="62"/>
                  <a:pt x="110" y="67"/>
                  <a:pt x="110" y="74"/>
                </a:cubicBezTo>
                <a:cubicBezTo>
                  <a:pt x="110" y="80"/>
                  <a:pt x="105" y="85"/>
                  <a:pt x="98" y="85"/>
                </a:cubicBezTo>
                <a:cubicBezTo>
                  <a:pt x="92" y="85"/>
                  <a:pt x="87" y="80"/>
                  <a:pt x="87" y="74"/>
                </a:cubicBezTo>
                <a:cubicBezTo>
                  <a:pt x="87" y="67"/>
                  <a:pt x="92" y="62"/>
                  <a:pt x="98" y="62"/>
                </a:cubicBezTo>
                <a:close/>
                <a:moveTo>
                  <a:pt x="119" y="115"/>
                </a:moveTo>
                <a:cubicBezTo>
                  <a:pt x="112" y="115"/>
                  <a:pt x="112" y="115"/>
                  <a:pt x="112" y="115"/>
                </a:cubicBezTo>
                <a:cubicBezTo>
                  <a:pt x="112" y="104"/>
                  <a:pt x="112" y="104"/>
                  <a:pt x="112" y="104"/>
                </a:cubicBezTo>
                <a:cubicBezTo>
                  <a:pt x="108" y="104"/>
                  <a:pt x="108" y="104"/>
                  <a:pt x="108" y="104"/>
                </a:cubicBezTo>
                <a:cubicBezTo>
                  <a:pt x="108" y="138"/>
                  <a:pt x="108" y="138"/>
                  <a:pt x="108" y="138"/>
                </a:cubicBezTo>
                <a:cubicBezTo>
                  <a:pt x="101" y="138"/>
                  <a:pt x="101" y="138"/>
                  <a:pt x="101" y="138"/>
                </a:cubicBezTo>
                <a:cubicBezTo>
                  <a:pt x="101" y="122"/>
                  <a:pt x="101" y="122"/>
                  <a:pt x="101" y="122"/>
                </a:cubicBezTo>
                <a:cubicBezTo>
                  <a:pt x="96" y="122"/>
                  <a:pt x="96" y="122"/>
                  <a:pt x="96" y="122"/>
                </a:cubicBezTo>
                <a:cubicBezTo>
                  <a:pt x="96" y="138"/>
                  <a:pt x="96" y="138"/>
                  <a:pt x="96" y="138"/>
                </a:cubicBezTo>
                <a:cubicBezTo>
                  <a:pt x="89" y="138"/>
                  <a:pt x="89" y="138"/>
                  <a:pt x="89" y="138"/>
                </a:cubicBezTo>
                <a:cubicBezTo>
                  <a:pt x="89" y="104"/>
                  <a:pt x="89" y="104"/>
                  <a:pt x="89" y="104"/>
                </a:cubicBezTo>
                <a:cubicBezTo>
                  <a:pt x="85" y="104"/>
                  <a:pt x="85" y="104"/>
                  <a:pt x="85" y="104"/>
                </a:cubicBezTo>
                <a:cubicBezTo>
                  <a:pt x="85" y="115"/>
                  <a:pt x="85" y="115"/>
                  <a:pt x="85" y="115"/>
                </a:cubicBezTo>
                <a:cubicBezTo>
                  <a:pt x="78" y="115"/>
                  <a:pt x="78" y="115"/>
                  <a:pt x="78" y="115"/>
                </a:cubicBezTo>
                <a:cubicBezTo>
                  <a:pt x="78" y="101"/>
                  <a:pt x="78" y="101"/>
                  <a:pt x="78" y="101"/>
                </a:cubicBezTo>
                <a:cubicBezTo>
                  <a:pt x="78" y="95"/>
                  <a:pt x="82" y="89"/>
                  <a:pt x="88" y="86"/>
                </a:cubicBezTo>
                <a:cubicBezTo>
                  <a:pt x="91" y="89"/>
                  <a:pt x="95" y="90"/>
                  <a:pt x="98" y="90"/>
                </a:cubicBezTo>
                <a:cubicBezTo>
                  <a:pt x="102" y="90"/>
                  <a:pt x="106" y="89"/>
                  <a:pt x="109" y="86"/>
                </a:cubicBezTo>
                <a:cubicBezTo>
                  <a:pt x="115" y="89"/>
                  <a:pt x="119" y="95"/>
                  <a:pt x="119" y="101"/>
                </a:cubicBezTo>
                <a:cubicBezTo>
                  <a:pt x="119" y="115"/>
                  <a:pt x="119" y="115"/>
                  <a:pt x="119" y="115"/>
                </a:cubicBezTo>
                <a:close/>
                <a:moveTo>
                  <a:pt x="92" y="55"/>
                </a:moveTo>
                <a:cubicBezTo>
                  <a:pt x="92" y="46"/>
                  <a:pt x="92" y="46"/>
                  <a:pt x="92" y="46"/>
                </a:cubicBezTo>
                <a:cubicBezTo>
                  <a:pt x="96" y="46"/>
                  <a:pt x="96" y="46"/>
                  <a:pt x="96" y="46"/>
                </a:cubicBezTo>
                <a:cubicBezTo>
                  <a:pt x="100" y="46"/>
                  <a:pt x="103" y="43"/>
                  <a:pt x="103" y="39"/>
                </a:cubicBezTo>
                <a:cubicBezTo>
                  <a:pt x="103" y="16"/>
                  <a:pt x="103" y="16"/>
                  <a:pt x="103" y="16"/>
                </a:cubicBezTo>
                <a:cubicBezTo>
                  <a:pt x="103" y="13"/>
                  <a:pt x="100" y="10"/>
                  <a:pt x="96" y="10"/>
                </a:cubicBezTo>
                <a:cubicBezTo>
                  <a:pt x="76" y="10"/>
                  <a:pt x="76" y="10"/>
                  <a:pt x="76" y="10"/>
                </a:cubicBezTo>
                <a:cubicBezTo>
                  <a:pt x="76" y="7"/>
                  <a:pt x="76" y="7"/>
                  <a:pt x="76" y="7"/>
                </a:cubicBezTo>
                <a:cubicBezTo>
                  <a:pt x="76" y="3"/>
                  <a:pt x="72" y="0"/>
                  <a:pt x="69" y="0"/>
                </a:cubicBezTo>
                <a:cubicBezTo>
                  <a:pt x="27" y="0"/>
                  <a:pt x="27" y="0"/>
                  <a:pt x="27" y="0"/>
                </a:cubicBezTo>
                <a:cubicBezTo>
                  <a:pt x="24" y="0"/>
                  <a:pt x="20" y="3"/>
                  <a:pt x="20" y="7"/>
                </a:cubicBezTo>
                <a:cubicBezTo>
                  <a:pt x="20" y="30"/>
                  <a:pt x="20" y="30"/>
                  <a:pt x="20" y="30"/>
                </a:cubicBezTo>
                <a:cubicBezTo>
                  <a:pt x="20" y="34"/>
                  <a:pt x="24" y="37"/>
                  <a:pt x="27" y="37"/>
                </a:cubicBezTo>
                <a:cubicBezTo>
                  <a:pt x="30" y="37"/>
                  <a:pt x="30" y="37"/>
                  <a:pt x="30" y="37"/>
                </a:cubicBezTo>
                <a:cubicBezTo>
                  <a:pt x="30" y="46"/>
                  <a:pt x="30" y="46"/>
                  <a:pt x="30" y="46"/>
                </a:cubicBezTo>
                <a:cubicBezTo>
                  <a:pt x="42" y="37"/>
                  <a:pt x="42" y="37"/>
                  <a:pt x="42" y="37"/>
                </a:cubicBezTo>
                <a:cubicBezTo>
                  <a:pt x="48" y="37"/>
                  <a:pt x="48" y="37"/>
                  <a:pt x="48" y="37"/>
                </a:cubicBezTo>
                <a:cubicBezTo>
                  <a:pt x="48" y="39"/>
                  <a:pt x="48" y="39"/>
                  <a:pt x="48" y="39"/>
                </a:cubicBezTo>
                <a:cubicBezTo>
                  <a:pt x="48" y="43"/>
                  <a:pt x="51" y="46"/>
                  <a:pt x="55" y="46"/>
                </a:cubicBezTo>
                <a:cubicBezTo>
                  <a:pt x="79" y="46"/>
                  <a:pt x="79" y="46"/>
                  <a:pt x="79" y="46"/>
                </a:cubicBezTo>
                <a:lnTo>
                  <a:pt x="92" y="55"/>
                </a:lnTo>
                <a:close/>
                <a:moveTo>
                  <a:pt x="48" y="16"/>
                </a:moveTo>
                <a:cubicBezTo>
                  <a:pt x="48" y="32"/>
                  <a:pt x="48" y="32"/>
                  <a:pt x="48" y="32"/>
                </a:cubicBezTo>
                <a:cubicBezTo>
                  <a:pt x="40" y="32"/>
                  <a:pt x="40" y="32"/>
                  <a:pt x="40" y="32"/>
                </a:cubicBezTo>
                <a:cubicBezTo>
                  <a:pt x="34" y="37"/>
                  <a:pt x="34" y="37"/>
                  <a:pt x="34" y="37"/>
                </a:cubicBezTo>
                <a:cubicBezTo>
                  <a:pt x="34" y="32"/>
                  <a:pt x="34" y="32"/>
                  <a:pt x="34" y="32"/>
                </a:cubicBezTo>
                <a:cubicBezTo>
                  <a:pt x="27" y="32"/>
                  <a:pt x="27" y="32"/>
                  <a:pt x="27" y="32"/>
                </a:cubicBezTo>
                <a:cubicBezTo>
                  <a:pt x="26" y="32"/>
                  <a:pt x="25" y="31"/>
                  <a:pt x="25" y="30"/>
                </a:cubicBezTo>
                <a:cubicBezTo>
                  <a:pt x="25" y="7"/>
                  <a:pt x="25" y="7"/>
                  <a:pt x="25" y="7"/>
                </a:cubicBezTo>
                <a:cubicBezTo>
                  <a:pt x="25" y="6"/>
                  <a:pt x="26" y="5"/>
                  <a:pt x="27" y="5"/>
                </a:cubicBezTo>
                <a:cubicBezTo>
                  <a:pt x="69" y="5"/>
                  <a:pt x="69" y="5"/>
                  <a:pt x="69" y="5"/>
                </a:cubicBezTo>
                <a:cubicBezTo>
                  <a:pt x="70" y="5"/>
                  <a:pt x="71" y="6"/>
                  <a:pt x="71" y="7"/>
                </a:cubicBezTo>
                <a:cubicBezTo>
                  <a:pt x="71" y="10"/>
                  <a:pt x="71" y="10"/>
                  <a:pt x="71" y="10"/>
                </a:cubicBezTo>
                <a:cubicBezTo>
                  <a:pt x="55" y="10"/>
                  <a:pt x="55" y="10"/>
                  <a:pt x="55" y="10"/>
                </a:cubicBezTo>
                <a:cubicBezTo>
                  <a:pt x="51" y="10"/>
                  <a:pt x="48" y="13"/>
                  <a:pt x="48" y="16"/>
                </a:cubicBezTo>
                <a:close/>
                <a:moveTo>
                  <a:pt x="53" y="39"/>
                </a:moveTo>
                <a:cubicBezTo>
                  <a:pt x="53" y="16"/>
                  <a:pt x="53" y="16"/>
                  <a:pt x="53" y="16"/>
                </a:cubicBezTo>
                <a:cubicBezTo>
                  <a:pt x="53" y="15"/>
                  <a:pt x="54" y="14"/>
                  <a:pt x="55" y="14"/>
                </a:cubicBezTo>
                <a:cubicBezTo>
                  <a:pt x="96" y="14"/>
                  <a:pt x="96" y="14"/>
                  <a:pt x="96" y="14"/>
                </a:cubicBezTo>
                <a:cubicBezTo>
                  <a:pt x="97" y="14"/>
                  <a:pt x="98" y="15"/>
                  <a:pt x="98" y="16"/>
                </a:cubicBezTo>
                <a:cubicBezTo>
                  <a:pt x="98" y="39"/>
                  <a:pt x="98" y="39"/>
                  <a:pt x="98" y="39"/>
                </a:cubicBezTo>
                <a:cubicBezTo>
                  <a:pt x="98" y="41"/>
                  <a:pt x="97" y="42"/>
                  <a:pt x="96" y="42"/>
                </a:cubicBezTo>
                <a:cubicBezTo>
                  <a:pt x="87" y="42"/>
                  <a:pt x="87" y="42"/>
                  <a:pt x="87" y="42"/>
                </a:cubicBezTo>
                <a:cubicBezTo>
                  <a:pt x="87" y="46"/>
                  <a:pt x="87" y="46"/>
                  <a:pt x="87" y="46"/>
                </a:cubicBezTo>
                <a:cubicBezTo>
                  <a:pt x="81" y="42"/>
                  <a:pt x="81" y="42"/>
                  <a:pt x="81" y="42"/>
                </a:cubicBezTo>
                <a:cubicBezTo>
                  <a:pt x="55" y="42"/>
                  <a:pt x="55" y="42"/>
                  <a:pt x="55" y="42"/>
                </a:cubicBezTo>
                <a:cubicBezTo>
                  <a:pt x="54" y="42"/>
                  <a:pt x="53" y="41"/>
                  <a:pt x="53" y="39"/>
                </a:cubicBezTo>
                <a:close/>
                <a:moveTo>
                  <a:pt x="73" y="26"/>
                </a:moveTo>
                <a:cubicBezTo>
                  <a:pt x="78" y="26"/>
                  <a:pt x="78" y="26"/>
                  <a:pt x="78" y="26"/>
                </a:cubicBezTo>
                <a:cubicBezTo>
                  <a:pt x="78" y="30"/>
                  <a:pt x="78" y="30"/>
                  <a:pt x="78" y="30"/>
                </a:cubicBezTo>
                <a:cubicBezTo>
                  <a:pt x="73" y="30"/>
                  <a:pt x="73" y="30"/>
                  <a:pt x="73" y="30"/>
                </a:cubicBezTo>
                <a:lnTo>
                  <a:pt x="73" y="26"/>
                </a:lnTo>
                <a:close/>
                <a:moveTo>
                  <a:pt x="82" y="26"/>
                </a:moveTo>
                <a:cubicBezTo>
                  <a:pt x="87" y="26"/>
                  <a:pt x="87" y="26"/>
                  <a:pt x="87" y="26"/>
                </a:cubicBezTo>
                <a:cubicBezTo>
                  <a:pt x="87" y="30"/>
                  <a:pt x="87" y="30"/>
                  <a:pt x="87" y="30"/>
                </a:cubicBezTo>
                <a:cubicBezTo>
                  <a:pt x="82" y="30"/>
                  <a:pt x="82" y="30"/>
                  <a:pt x="82" y="30"/>
                </a:cubicBezTo>
                <a:lnTo>
                  <a:pt x="82" y="26"/>
                </a:lnTo>
                <a:close/>
                <a:moveTo>
                  <a:pt x="64" y="26"/>
                </a:moveTo>
                <a:cubicBezTo>
                  <a:pt x="69" y="26"/>
                  <a:pt x="69" y="26"/>
                  <a:pt x="69" y="26"/>
                </a:cubicBezTo>
                <a:cubicBezTo>
                  <a:pt x="69" y="30"/>
                  <a:pt x="69" y="30"/>
                  <a:pt x="69" y="30"/>
                </a:cubicBezTo>
                <a:cubicBezTo>
                  <a:pt x="64" y="30"/>
                  <a:pt x="64" y="30"/>
                  <a:pt x="64" y="30"/>
                </a:cubicBezTo>
                <a:lnTo>
                  <a:pt x="64" y="26"/>
                </a:lnTo>
                <a:close/>
              </a:path>
            </a:pathLst>
          </a:custGeom>
          <a:solidFill>
            <a:schemeClr val="bg1"/>
          </a:solidFill>
          <a:ln>
            <a:solidFill>
              <a:srgbClr val="C3B69B"/>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grpSp>
        <p:nvGrpSpPr>
          <p:cNvPr id="24" name="Group 23"/>
          <p:cNvGrpSpPr/>
          <p:nvPr/>
        </p:nvGrpSpPr>
        <p:grpSpPr>
          <a:xfrm>
            <a:off x="2917309" y="4273022"/>
            <a:ext cx="564387" cy="520064"/>
            <a:chOff x="2285633" y="5061545"/>
            <a:chExt cx="752516" cy="693418"/>
          </a:xfrm>
          <a:solidFill>
            <a:schemeClr val="bg1"/>
          </a:solidFill>
        </p:grpSpPr>
        <p:sp>
          <p:nvSpPr>
            <p:cNvPr id="93" name="Oval 179">
              <a:extLst>
                <a:ext uri="{FF2B5EF4-FFF2-40B4-BE49-F238E27FC236}">
                  <a16:creationId xmlns:a16="http://schemas.microsoft.com/office/drawing/2014/main" id="{25DB0B8B-AAA9-428E-BF94-743977F1A24C}"/>
                </a:ext>
              </a:extLst>
            </p:cNvPr>
            <p:cNvSpPr>
              <a:spLocks noChangeArrowheads="1"/>
            </p:cNvSpPr>
            <p:nvPr/>
          </p:nvSpPr>
          <p:spPr bwMode="auto">
            <a:xfrm>
              <a:off x="2285633" y="5061545"/>
              <a:ext cx="752516" cy="693418"/>
            </a:xfrm>
            <a:prstGeom prst="ellipse">
              <a:avLst/>
            </a:prstGeom>
            <a:grpFill/>
            <a:ln>
              <a:solidFill>
                <a:srgbClr val="C3B69B"/>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sp>
          <p:nvSpPr>
            <p:cNvPr id="94" name="Freeform 188">
              <a:extLst>
                <a:ext uri="{FF2B5EF4-FFF2-40B4-BE49-F238E27FC236}">
                  <a16:creationId xmlns:a16="http://schemas.microsoft.com/office/drawing/2014/main" id="{C000D9B7-9CC9-43C6-AC04-79C4B2AB4327}"/>
                </a:ext>
              </a:extLst>
            </p:cNvPr>
            <p:cNvSpPr>
              <a:spLocks noEditPoints="1"/>
            </p:cNvSpPr>
            <p:nvPr/>
          </p:nvSpPr>
          <p:spPr bwMode="auto">
            <a:xfrm>
              <a:off x="2392049" y="5138591"/>
              <a:ext cx="539683" cy="500802"/>
            </a:xfrm>
            <a:custGeom>
              <a:avLst/>
              <a:gdLst>
                <a:gd name="T0" fmla="*/ 18 w 142"/>
                <a:gd name="T1" fmla="*/ 117 h 143"/>
                <a:gd name="T2" fmla="*/ 18 w 142"/>
                <a:gd name="T3" fmla="*/ 59 h 143"/>
                <a:gd name="T4" fmla="*/ 18 w 142"/>
                <a:gd name="T5" fmla="*/ 113 h 143"/>
                <a:gd name="T6" fmla="*/ 32 w 142"/>
                <a:gd name="T7" fmla="*/ 101 h 143"/>
                <a:gd name="T8" fmla="*/ 6 w 142"/>
                <a:gd name="T9" fmla="*/ 97 h 143"/>
                <a:gd name="T10" fmla="*/ 30 w 142"/>
                <a:gd name="T11" fmla="*/ 97 h 143"/>
                <a:gd name="T12" fmla="*/ 124 w 142"/>
                <a:gd name="T13" fmla="*/ 59 h 143"/>
                <a:gd name="T14" fmla="*/ 124 w 142"/>
                <a:gd name="T15" fmla="*/ 117 h 143"/>
                <a:gd name="T16" fmla="*/ 124 w 142"/>
                <a:gd name="T17" fmla="*/ 59 h 143"/>
                <a:gd name="T18" fmla="*/ 136 w 142"/>
                <a:gd name="T19" fmla="*/ 97 h 143"/>
                <a:gd name="T20" fmla="*/ 124 w 142"/>
                <a:gd name="T21" fmla="*/ 70 h 143"/>
                <a:gd name="T22" fmla="*/ 110 w 142"/>
                <a:gd name="T23" fmla="*/ 101 h 143"/>
                <a:gd name="T24" fmla="*/ 124 w 142"/>
                <a:gd name="T25" fmla="*/ 113 h 143"/>
                <a:gd name="T26" fmla="*/ 89 w 142"/>
                <a:gd name="T27" fmla="*/ 19 h 143"/>
                <a:gd name="T28" fmla="*/ 53 w 142"/>
                <a:gd name="T29" fmla="*/ 19 h 143"/>
                <a:gd name="T30" fmla="*/ 71 w 142"/>
                <a:gd name="T31" fmla="*/ 5 h 143"/>
                <a:gd name="T32" fmla="*/ 71 w 142"/>
                <a:gd name="T33" fmla="*/ 32 h 143"/>
                <a:gd name="T34" fmla="*/ 71 w 142"/>
                <a:gd name="T35" fmla="*/ 5 h 143"/>
                <a:gd name="T36" fmla="*/ 133 w 142"/>
                <a:gd name="T37" fmla="*/ 39 h 143"/>
                <a:gd name="T38" fmla="*/ 71 w 142"/>
                <a:gd name="T39" fmla="*/ 56 h 143"/>
                <a:gd name="T40" fmla="*/ 9 w 142"/>
                <a:gd name="T41" fmla="*/ 39 h 143"/>
                <a:gd name="T42" fmla="*/ 9 w 142"/>
                <a:gd name="T43" fmla="*/ 58 h 143"/>
                <a:gd name="T44" fmla="*/ 48 w 142"/>
                <a:gd name="T45" fmla="*/ 143 h 143"/>
                <a:gd name="T46" fmla="*/ 94 w 142"/>
                <a:gd name="T47" fmla="*/ 58 h 143"/>
                <a:gd name="T48" fmla="*/ 142 w 142"/>
                <a:gd name="T49" fmla="*/ 49 h 143"/>
                <a:gd name="T50" fmla="*/ 89 w 142"/>
                <a:gd name="T51" fmla="*/ 138 h 143"/>
                <a:gd name="T52" fmla="*/ 73 w 142"/>
                <a:gd name="T53" fmla="*/ 113 h 143"/>
                <a:gd name="T54" fmla="*/ 69 w 142"/>
                <a:gd name="T55" fmla="*/ 138 h 143"/>
                <a:gd name="T56" fmla="*/ 53 w 142"/>
                <a:gd name="T57" fmla="*/ 53 h 143"/>
                <a:gd name="T58" fmla="*/ 4 w 142"/>
                <a:gd name="T59" fmla="*/ 49 h 143"/>
                <a:gd name="T60" fmla="*/ 57 w 142"/>
                <a:gd name="T61" fmla="*/ 44 h 143"/>
                <a:gd name="T62" fmla="*/ 85 w 142"/>
                <a:gd name="T63" fmla="*/ 44 h 143"/>
                <a:gd name="T64" fmla="*/ 137 w 142"/>
                <a:gd name="T65" fmla="*/ 49 h 143"/>
                <a:gd name="T66" fmla="*/ 89 w 142"/>
                <a:gd name="T67" fmla="*/ 5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2" h="143">
                  <a:moveTo>
                    <a:pt x="0" y="99"/>
                  </a:moveTo>
                  <a:cubicBezTo>
                    <a:pt x="0" y="109"/>
                    <a:pt x="8" y="117"/>
                    <a:pt x="18" y="117"/>
                  </a:cubicBezTo>
                  <a:cubicBezTo>
                    <a:pt x="28" y="117"/>
                    <a:pt x="37" y="109"/>
                    <a:pt x="37" y="99"/>
                  </a:cubicBezTo>
                  <a:cubicBezTo>
                    <a:pt x="18" y="59"/>
                    <a:pt x="18" y="59"/>
                    <a:pt x="18" y="59"/>
                  </a:cubicBezTo>
                  <a:lnTo>
                    <a:pt x="0" y="99"/>
                  </a:lnTo>
                  <a:close/>
                  <a:moveTo>
                    <a:pt x="18" y="113"/>
                  </a:moveTo>
                  <a:cubicBezTo>
                    <a:pt x="11" y="113"/>
                    <a:pt x="5" y="108"/>
                    <a:pt x="4" y="101"/>
                  </a:cubicBezTo>
                  <a:cubicBezTo>
                    <a:pt x="32" y="101"/>
                    <a:pt x="32" y="101"/>
                    <a:pt x="32" y="101"/>
                  </a:cubicBezTo>
                  <a:cubicBezTo>
                    <a:pt x="31" y="108"/>
                    <a:pt x="25" y="113"/>
                    <a:pt x="18" y="113"/>
                  </a:cubicBezTo>
                  <a:close/>
                  <a:moveTo>
                    <a:pt x="6" y="97"/>
                  </a:moveTo>
                  <a:cubicBezTo>
                    <a:pt x="18" y="70"/>
                    <a:pt x="18" y="70"/>
                    <a:pt x="18" y="70"/>
                  </a:cubicBezTo>
                  <a:cubicBezTo>
                    <a:pt x="30" y="97"/>
                    <a:pt x="30" y="97"/>
                    <a:pt x="30" y="97"/>
                  </a:cubicBezTo>
                  <a:lnTo>
                    <a:pt x="6" y="97"/>
                  </a:lnTo>
                  <a:close/>
                  <a:moveTo>
                    <a:pt x="124" y="59"/>
                  </a:moveTo>
                  <a:cubicBezTo>
                    <a:pt x="105" y="99"/>
                    <a:pt x="105" y="99"/>
                    <a:pt x="105" y="99"/>
                  </a:cubicBezTo>
                  <a:cubicBezTo>
                    <a:pt x="105" y="109"/>
                    <a:pt x="113" y="117"/>
                    <a:pt x="124" y="117"/>
                  </a:cubicBezTo>
                  <a:cubicBezTo>
                    <a:pt x="134" y="117"/>
                    <a:pt x="142" y="109"/>
                    <a:pt x="142" y="99"/>
                  </a:cubicBezTo>
                  <a:lnTo>
                    <a:pt x="124" y="59"/>
                  </a:lnTo>
                  <a:close/>
                  <a:moveTo>
                    <a:pt x="124" y="70"/>
                  </a:moveTo>
                  <a:cubicBezTo>
                    <a:pt x="136" y="97"/>
                    <a:pt x="136" y="97"/>
                    <a:pt x="136" y="97"/>
                  </a:cubicBezTo>
                  <a:cubicBezTo>
                    <a:pt x="111" y="97"/>
                    <a:pt x="111" y="97"/>
                    <a:pt x="111" y="97"/>
                  </a:cubicBezTo>
                  <a:lnTo>
                    <a:pt x="124" y="70"/>
                  </a:lnTo>
                  <a:close/>
                  <a:moveTo>
                    <a:pt x="124" y="113"/>
                  </a:moveTo>
                  <a:cubicBezTo>
                    <a:pt x="117" y="113"/>
                    <a:pt x="111" y="108"/>
                    <a:pt x="110" y="101"/>
                  </a:cubicBezTo>
                  <a:cubicBezTo>
                    <a:pt x="137" y="101"/>
                    <a:pt x="137" y="101"/>
                    <a:pt x="137" y="101"/>
                  </a:cubicBezTo>
                  <a:cubicBezTo>
                    <a:pt x="136" y="108"/>
                    <a:pt x="131" y="113"/>
                    <a:pt x="124" y="113"/>
                  </a:cubicBezTo>
                  <a:close/>
                  <a:moveTo>
                    <a:pt x="71" y="37"/>
                  </a:moveTo>
                  <a:cubicBezTo>
                    <a:pt x="81" y="37"/>
                    <a:pt x="89" y="29"/>
                    <a:pt x="89" y="19"/>
                  </a:cubicBezTo>
                  <a:cubicBezTo>
                    <a:pt x="89" y="9"/>
                    <a:pt x="81" y="0"/>
                    <a:pt x="71" y="0"/>
                  </a:cubicBezTo>
                  <a:cubicBezTo>
                    <a:pt x="61" y="0"/>
                    <a:pt x="53" y="9"/>
                    <a:pt x="53" y="19"/>
                  </a:cubicBezTo>
                  <a:cubicBezTo>
                    <a:pt x="53" y="29"/>
                    <a:pt x="61" y="37"/>
                    <a:pt x="71" y="37"/>
                  </a:cubicBezTo>
                  <a:close/>
                  <a:moveTo>
                    <a:pt x="71" y="5"/>
                  </a:moveTo>
                  <a:cubicBezTo>
                    <a:pt x="78" y="5"/>
                    <a:pt x="85" y="11"/>
                    <a:pt x="85" y="19"/>
                  </a:cubicBezTo>
                  <a:cubicBezTo>
                    <a:pt x="85" y="26"/>
                    <a:pt x="78" y="32"/>
                    <a:pt x="71" y="32"/>
                  </a:cubicBezTo>
                  <a:cubicBezTo>
                    <a:pt x="63" y="32"/>
                    <a:pt x="57" y="26"/>
                    <a:pt x="57" y="19"/>
                  </a:cubicBezTo>
                  <a:cubicBezTo>
                    <a:pt x="57" y="11"/>
                    <a:pt x="63" y="5"/>
                    <a:pt x="71" y="5"/>
                  </a:cubicBezTo>
                  <a:close/>
                  <a:moveTo>
                    <a:pt x="142" y="49"/>
                  </a:moveTo>
                  <a:cubicBezTo>
                    <a:pt x="142" y="43"/>
                    <a:pt x="138" y="39"/>
                    <a:pt x="133" y="39"/>
                  </a:cubicBezTo>
                  <a:cubicBezTo>
                    <a:pt x="83" y="39"/>
                    <a:pt x="83" y="39"/>
                    <a:pt x="83" y="39"/>
                  </a:cubicBezTo>
                  <a:cubicBezTo>
                    <a:pt x="71" y="56"/>
                    <a:pt x="71" y="56"/>
                    <a:pt x="71" y="56"/>
                  </a:cubicBezTo>
                  <a:cubicBezTo>
                    <a:pt x="59" y="39"/>
                    <a:pt x="59" y="39"/>
                    <a:pt x="59" y="39"/>
                  </a:cubicBezTo>
                  <a:cubicBezTo>
                    <a:pt x="9" y="39"/>
                    <a:pt x="9" y="39"/>
                    <a:pt x="9" y="39"/>
                  </a:cubicBezTo>
                  <a:cubicBezTo>
                    <a:pt x="4" y="39"/>
                    <a:pt x="0" y="43"/>
                    <a:pt x="0" y="49"/>
                  </a:cubicBezTo>
                  <a:cubicBezTo>
                    <a:pt x="0" y="54"/>
                    <a:pt x="4" y="58"/>
                    <a:pt x="9" y="58"/>
                  </a:cubicBezTo>
                  <a:cubicBezTo>
                    <a:pt x="48" y="58"/>
                    <a:pt x="48" y="58"/>
                    <a:pt x="48" y="58"/>
                  </a:cubicBezTo>
                  <a:cubicBezTo>
                    <a:pt x="48" y="143"/>
                    <a:pt x="48" y="143"/>
                    <a:pt x="48" y="143"/>
                  </a:cubicBezTo>
                  <a:cubicBezTo>
                    <a:pt x="94" y="143"/>
                    <a:pt x="94" y="143"/>
                    <a:pt x="94" y="143"/>
                  </a:cubicBezTo>
                  <a:cubicBezTo>
                    <a:pt x="94" y="58"/>
                    <a:pt x="94" y="58"/>
                    <a:pt x="94" y="58"/>
                  </a:cubicBezTo>
                  <a:cubicBezTo>
                    <a:pt x="133" y="58"/>
                    <a:pt x="133" y="58"/>
                    <a:pt x="133" y="58"/>
                  </a:cubicBezTo>
                  <a:cubicBezTo>
                    <a:pt x="138" y="58"/>
                    <a:pt x="142" y="54"/>
                    <a:pt x="142" y="49"/>
                  </a:cubicBezTo>
                  <a:close/>
                  <a:moveTo>
                    <a:pt x="89" y="53"/>
                  </a:moveTo>
                  <a:cubicBezTo>
                    <a:pt x="89" y="138"/>
                    <a:pt x="89" y="138"/>
                    <a:pt x="89" y="138"/>
                  </a:cubicBezTo>
                  <a:cubicBezTo>
                    <a:pt x="73" y="138"/>
                    <a:pt x="73" y="138"/>
                    <a:pt x="73" y="138"/>
                  </a:cubicBezTo>
                  <a:cubicBezTo>
                    <a:pt x="73" y="113"/>
                    <a:pt x="73" y="113"/>
                    <a:pt x="73" y="113"/>
                  </a:cubicBezTo>
                  <a:cubicBezTo>
                    <a:pt x="69" y="113"/>
                    <a:pt x="69" y="113"/>
                    <a:pt x="69" y="113"/>
                  </a:cubicBezTo>
                  <a:cubicBezTo>
                    <a:pt x="69" y="138"/>
                    <a:pt x="69" y="138"/>
                    <a:pt x="69" y="138"/>
                  </a:cubicBezTo>
                  <a:cubicBezTo>
                    <a:pt x="53" y="138"/>
                    <a:pt x="53" y="138"/>
                    <a:pt x="53" y="138"/>
                  </a:cubicBezTo>
                  <a:cubicBezTo>
                    <a:pt x="53" y="53"/>
                    <a:pt x="53" y="53"/>
                    <a:pt x="53" y="53"/>
                  </a:cubicBezTo>
                  <a:cubicBezTo>
                    <a:pt x="9" y="53"/>
                    <a:pt x="9" y="53"/>
                    <a:pt x="9" y="53"/>
                  </a:cubicBezTo>
                  <a:cubicBezTo>
                    <a:pt x="7" y="53"/>
                    <a:pt x="4" y="51"/>
                    <a:pt x="4" y="49"/>
                  </a:cubicBezTo>
                  <a:cubicBezTo>
                    <a:pt x="4" y="46"/>
                    <a:pt x="6" y="44"/>
                    <a:pt x="9" y="44"/>
                  </a:cubicBezTo>
                  <a:cubicBezTo>
                    <a:pt x="57" y="44"/>
                    <a:pt x="57" y="44"/>
                    <a:pt x="57" y="44"/>
                  </a:cubicBezTo>
                  <a:cubicBezTo>
                    <a:pt x="71" y="64"/>
                    <a:pt x="71" y="64"/>
                    <a:pt x="71" y="64"/>
                  </a:cubicBezTo>
                  <a:cubicBezTo>
                    <a:pt x="85" y="44"/>
                    <a:pt x="85" y="44"/>
                    <a:pt x="85" y="44"/>
                  </a:cubicBezTo>
                  <a:cubicBezTo>
                    <a:pt x="133" y="44"/>
                    <a:pt x="133" y="44"/>
                    <a:pt x="133" y="44"/>
                  </a:cubicBezTo>
                  <a:cubicBezTo>
                    <a:pt x="135" y="44"/>
                    <a:pt x="137" y="46"/>
                    <a:pt x="137" y="49"/>
                  </a:cubicBezTo>
                  <a:cubicBezTo>
                    <a:pt x="137" y="51"/>
                    <a:pt x="135" y="53"/>
                    <a:pt x="133" y="53"/>
                  </a:cubicBezTo>
                  <a:lnTo>
                    <a:pt x="89" y="53"/>
                  </a:lnTo>
                  <a:close/>
                </a:path>
              </a:pathLst>
            </a:custGeom>
            <a:grpFill/>
            <a:ln>
              <a:solidFill>
                <a:srgbClr val="C3B69B"/>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grpSp>
      <p:grpSp>
        <p:nvGrpSpPr>
          <p:cNvPr id="6" name="Group 5">
            <a:extLst>
              <a:ext uri="{FF2B5EF4-FFF2-40B4-BE49-F238E27FC236}">
                <a16:creationId xmlns:a16="http://schemas.microsoft.com/office/drawing/2014/main" id="{A90A6750-D963-4DEA-81BF-349EA43B8584}"/>
              </a:ext>
            </a:extLst>
          </p:cNvPr>
          <p:cNvGrpSpPr/>
          <p:nvPr/>
        </p:nvGrpSpPr>
        <p:grpSpPr>
          <a:xfrm>
            <a:off x="8686723" y="4239919"/>
            <a:ext cx="544214" cy="529988"/>
            <a:chOff x="7068382" y="4341517"/>
            <a:chExt cx="544214" cy="529988"/>
          </a:xfrm>
          <a:solidFill>
            <a:schemeClr val="bg1"/>
          </a:solidFill>
        </p:grpSpPr>
        <p:sp>
          <p:nvSpPr>
            <p:cNvPr id="96" name="Oval 181">
              <a:extLst>
                <a:ext uri="{FF2B5EF4-FFF2-40B4-BE49-F238E27FC236}">
                  <a16:creationId xmlns:a16="http://schemas.microsoft.com/office/drawing/2014/main" id="{08F5F06D-2BC2-4849-BBA3-36AB59A09E08}"/>
                </a:ext>
              </a:extLst>
            </p:cNvPr>
            <p:cNvSpPr>
              <a:spLocks noChangeArrowheads="1"/>
            </p:cNvSpPr>
            <p:nvPr/>
          </p:nvSpPr>
          <p:spPr bwMode="auto">
            <a:xfrm>
              <a:off x="7068382" y="4341517"/>
              <a:ext cx="544214" cy="529988"/>
            </a:xfrm>
            <a:prstGeom prst="ellipse">
              <a:avLst/>
            </a:prstGeom>
            <a:grpFill/>
            <a:ln>
              <a:solidFill>
                <a:schemeClr val="tx2"/>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sp>
          <p:nvSpPr>
            <p:cNvPr id="97" name="Freeform 183">
              <a:extLst>
                <a:ext uri="{FF2B5EF4-FFF2-40B4-BE49-F238E27FC236}">
                  <a16:creationId xmlns:a16="http://schemas.microsoft.com/office/drawing/2014/main" id="{3A24D55C-AD78-447F-86FF-04E2C5DB4805}"/>
                </a:ext>
              </a:extLst>
            </p:cNvPr>
            <p:cNvSpPr>
              <a:spLocks noEditPoints="1"/>
            </p:cNvSpPr>
            <p:nvPr/>
          </p:nvSpPr>
          <p:spPr bwMode="auto">
            <a:xfrm>
              <a:off x="7180356" y="4416231"/>
              <a:ext cx="322700" cy="382769"/>
            </a:xfrm>
            <a:custGeom>
              <a:avLst/>
              <a:gdLst>
                <a:gd name="T0" fmla="*/ 84 w 118"/>
                <a:gd name="T1" fmla="*/ 78 h 143"/>
                <a:gd name="T2" fmla="*/ 65 w 118"/>
                <a:gd name="T3" fmla="*/ 98 h 143"/>
                <a:gd name="T4" fmla="*/ 49 w 118"/>
                <a:gd name="T5" fmla="*/ 88 h 143"/>
                <a:gd name="T6" fmla="*/ 49 w 118"/>
                <a:gd name="T7" fmla="*/ 107 h 143"/>
                <a:gd name="T8" fmla="*/ 2 w 118"/>
                <a:gd name="T9" fmla="*/ 102 h 143"/>
                <a:gd name="T10" fmla="*/ 9 w 118"/>
                <a:gd name="T11" fmla="*/ 143 h 143"/>
                <a:gd name="T12" fmla="*/ 116 w 118"/>
                <a:gd name="T13" fmla="*/ 119 h 143"/>
                <a:gd name="T14" fmla="*/ 57 w 118"/>
                <a:gd name="T15" fmla="*/ 98 h 143"/>
                <a:gd name="T16" fmla="*/ 62 w 118"/>
                <a:gd name="T17" fmla="*/ 92 h 143"/>
                <a:gd name="T18" fmla="*/ 66 w 118"/>
                <a:gd name="T19" fmla="*/ 113 h 143"/>
                <a:gd name="T20" fmla="*/ 51 w 118"/>
                <a:gd name="T21" fmla="*/ 113 h 143"/>
                <a:gd name="T22" fmla="*/ 112 w 118"/>
                <a:gd name="T23" fmla="*/ 118 h 143"/>
                <a:gd name="T24" fmla="*/ 93 w 118"/>
                <a:gd name="T25" fmla="*/ 138 h 143"/>
                <a:gd name="T26" fmla="*/ 89 w 118"/>
                <a:gd name="T27" fmla="*/ 124 h 143"/>
                <a:gd name="T28" fmla="*/ 29 w 118"/>
                <a:gd name="T29" fmla="*/ 138 h 143"/>
                <a:gd name="T30" fmla="*/ 24 w 118"/>
                <a:gd name="T31" fmla="*/ 124 h 143"/>
                <a:gd name="T32" fmla="*/ 12 w 118"/>
                <a:gd name="T33" fmla="*/ 138 h 143"/>
                <a:gd name="T34" fmla="*/ 6 w 118"/>
                <a:gd name="T35" fmla="*/ 103 h 143"/>
                <a:gd name="T36" fmla="*/ 59 w 118"/>
                <a:gd name="T37" fmla="*/ 136 h 143"/>
                <a:gd name="T38" fmla="*/ 111 w 118"/>
                <a:gd name="T39" fmla="*/ 103 h 143"/>
                <a:gd name="T40" fmla="*/ 43 w 118"/>
                <a:gd name="T41" fmla="*/ 62 h 143"/>
                <a:gd name="T42" fmla="*/ 43 w 118"/>
                <a:gd name="T43" fmla="*/ 67 h 143"/>
                <a:gd name="T44" fmla="*/ 47 w 118"/>
                <a:gd name="T45" fmla="*/ 71 h 143"/>
                <a:gd name="T46" fmla="*/ 47 w 118"/>
                <a:gd name="T47" fmla="*/ 71 h 143"/>
                <a:gd name="T48" fmla="*/ 70 w 118"/>
                <a:gd name="T49" fmla="*/ 71 h 143"/>
                <a:gd name="T50" fmla="*/ 70 w 118"/>
                <a:gd name="T51" fmla="*/ 71 h 143"/>
                <a:gd name="T52" fmla="*/ 75 w 118"/>
                <a:gd name="T53" fmla="*/ 67 h 143"/>
                <a:gd name="T54" fmla="*/ 74 w 118"/>
                <a:gd name="T55" fmla="*/ 62 h 143"/>
                <a:gd name="T56" fmla="*/ 58 w 118"/>
                <a:gd name="T57" fmla="*/ 10 h 143"/>
                <a:gd name="T58" fmla="*/ 43 w 118"/>
                <a:gd name="T59" fmla="*/ 62 h 143"/>
                <a:gd name="T60" fmla="*/ 52 w 118"/>
                <a:gd name="T61" fmla="*/ 71 h 143"/>
                <a:gd name="T62" fmla="*/ 59 w 118"/>
                <a:gd name="T63" fmla="*/ 78 h 143"/>
                <a:gd name="T64" fmla="*/ 83 w 118"/>
                <a:gd name="T65" fmla="*/ 38 h 143"/>
                <a:gd name="T66" fmla="*/ 66 w 118"/>
                <a:gd name="T67" fmla="*/ 67 h 143"/>
                <a:gd name="T68" fmla="*/ 61 w 118"/>
                <a:gd name="T69" fmla="*/ 55 h 143"/>
                <a:gd name="T70" fmla="*/ 59 w 118"/>
                <a:gd name="T71" fmla="*/ 37 h 143"/>
                <a:gd name="T72" fmla="*/ 56 w 118"/>
                <a:gd name="T73" fmla="*/ 55 h 143"/>
                <a:gd name="T74" fmla="*/ 52 w 118"/>
                <a:gd name="T75" fmla="*/ 67 h 143"/>
                <a:gd name="T76" fmla="*/ 35 w 118"/>
                <a:gd name="T77" fmla="*/ 37 h 143"/>
                <a:gd name="T78" fmla="*/ 59 w 118"/>
                <a:gd name="T79" fmla="*/ 51 h 143"/>
                <a:gd name="T80" fmla="*/ 59 w 118"/>
                <a:gd name="T81" fmla="*/ 42 h 143"/>
                <a:gd name="T82" fmla="*/ 59 w 118"/>
                <a:gd name="T83" fmla="*/ 51 h 143"/>
                <a:gd name="T84" fmla="*/ 98 w 118"/>
                <a:gd name="T85" fmla="*/ 35 h 143"/>
                <a:gd name="T86" fmla="*/ 93 w 118"/>
                <a:gd name="T87" fmla="*/ 39 h 143"/>
                <a:gd name="T88" fmla="*/ 20 w 118"/>
                <a:gd name="T89" fmla="*/ 35 h 143"/>
                <a:gd name="T90" fmla="*/ 24 w 118"/>
                <a:gd name="T91" fmla="*/ 39 h 143"/>
                <a:gd name="T92" fmla="*/ 20 w 118"/>
                <a:gd name="T93" fmla="*/ 35 h 143"/>
                <a:gd name="T94" fmla="*/ 61 w 118"/>
                <a:gd name="T95" fmla="*/ 0 h 143"/>
                <a:gd name="T96" fmla="*/ 56 w 118"/>
                <a:gd name="T97" fmla="*/ 5 h 143"/>
                <a:gd name="T98" fmla="*/ 85 w 118"/>
                <a:gd name="T99" fmla="*/ 66 h 143"/>
                <a:gd name="T100" fmla="*/ 85 w 118"/>
                <a:gd name="T101" fmla="*/ 60 h 143"/>
                <a:gd name="T102" fmla="*/ 85 w 118"/>
                <a:gd name="T103" fmla="*/ 66 h 143"/>
                <a:gd name="T104" fmla="*/ 36 w 118"/>
                <a:gd name="T105" fmla="*/ 11 h 143"/>
                <a:gd name="T106" fmla="*/ 30 w 118"/>
                <a:gd name="T107" fmla="*/ 11 h 143"/>
                <a:gd name="T108" fmla="*/ 33 w 118"/>
                <a:gd name="T109" fmla="*/ 60 h 143"/>
                <a:gd name="T110" fmla="*/ 33 w 118"/>
                <a:gd name="T111" fmla="*/ 66 h 143"/>
                <a:gd name="T112" fmla="*/ 33 w 118"/>
                <a:gd name="T113" fmla="*/ 60 h 143"/>
                <a:gd name="T114" fmla="*/ 88 w 118"/>
                <a:gd name="T115" fmla="*/ 11 h 143"/>
                <a:gd name="T116" fmla="*/ 81 w 118"/>
                <a:gd name="T117" fmla="*/ 1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8" h="143">
                  <a:moveTo>
                    <a:pt x="116" y="102"/>
                  </a:moveTo>
                  <a:cubicBezTo>
                    <a:pt x="109" y="78"/>
                    <a:pt x="84" y="78"/>
                    <a:pt x="84" y="78"/>
                  </a:cubicBezTo>
                  <a:cubicBezTo>
                    <a:pt x="69" y="107"/>
                    <a:pt x="69" y="107"/>
                    <a:pt x="69" y="107"/>
                  </a:cubicBezTo>
                  <a:cubicBezTo>
                    <a:pt x="65" y="98"/>
                    <a:pt x="65" y="98"/>
                    <a:pt x="65" y="98"/>
                  </a:cubicBezTo>
                  <a:cubicBezTo>
                    <a:pt x="68" y="88"/>
                    <a:pt x="68" y="88"/>
                    <a:pt x="68" y="88"/>
                  </a:cubicBezTo>
                  <a:cubicBezTo>
                    <a:pt x="49" y="88"/>
                    <a:pt x="49" y="88"/>
                    <a:pt x="49" y="88"/>
                  </a:cubicBezTo>
                  <a:cubicBezTo>
                    <a:pt x="52" y="98"/>
                    <a:pt x="52" y="98"/>
                    <a:pt x="52" y="98"/>
                  </a:cubicBezTo>
                  <a:cubicBezTo>
                    <a:pt x="49" y="107"/>
                    <a:pt x="49" y="107"/>
                    <a:pt x="49" y="107"/>
                  </a:cubicBezTo>
                  <a:cubicBezTo>
                    <a:pt x="33" y="78"/>
                    <a:pt x="33" y="78"/>
                    <a:pt x="33" y="78"/>
                  </a:cubicBezTo>
                  <a:cubicBezTo>
                    <a:pt x="33" y="78"/>
                    <a:pt x="10" y="77"/>
                    <a:pt x="2" y="102"/>
                  </a:cubicBezTo>
                  <a:cubicBezTo>
                    <a:pt x="0" y="107"/>
                    <a:pt x="0" y="113"/>
                    <a:pt x="1" y="119"/>
                  </a:cubicBezTo>
                  <a:cubicBezTo>
                    <a:pt x="9" y="143"/>
                    <a:pt x="9" y="143"/>
                    <a:pt x="9" y="143"/>
                  </a:cubicBezTo>
                  <a:cubicBezTo>
                    <a:pt x="109" y="143"/>
                    <a:pt x="109" y="143"/>
                    <a:pt x="109" y="143"/>
                  </a:cubicBezTo>
                  <a:cubicBezTo>
                    <a:pt x="116" y="119"/>
                    <a:pt x="116" y="119"/>
                    <a:pt x="116" y="119"/>
                  </a:cubicBezTo>
                  <a:cubicBezTo>
                    <a:pt x="118" y="113"/>
                    <a:pt x="118" y="107"/>
                    <a:pt x="116" y="102"/>
                  </a:cubicBezTo>
                  <a:close/>
                  <a:moveTo>
                    <a:pt x="57" y="98"/>
                  </a:moveTo>
                  <a:cubicBezTo>
                    <a:pt x="55" y="92"/>
                    <a:pt x="55" y="92"/>
                    <a:pt x="55" y="92"/>
                  </a:cubicBezTo>
                  <a:cubicBezTo>
                    <a:pt x="62" y="92"/>
                    <a:pt x="62" y="92"/>
                    <a:pt x="62" y="92"/>
                  </a:cubicBezTo>
                  <a:cubicBezTo>
                    <a:pt x="60" y="98"/>
                    <a:pt x="60" y="98"/>
                    <a:pt x="60" y="98"/>
                  </a:cubicBezTo>
                  <a:cubicBezTo>
                    <a:pt x="66" y="113"/>
                    <a:pt x="66" y="113"/>
                    <a:pt x="66" y="113"/>
                  </a:cubicBezTo>
                  <a:cubicBezTo>
                    <a:pt x="59" y="126"/>
                    <a:pt x="59" y="126"/>
                    <a:pt x="59" y="126"/>
                  </a:cubicBezTo>
                  <a:cubicBezTo>
                    <a:pt x="51" y="113"/>
                    <a:pt x="51" y="113"/>
                    <a:pt x="51" y="113"/>
                  </a:cubicBezTo>
                  <a:lnTo>
                    <a:pt x="57" y="98"/>
                  </a:lnTo>
                  <a:close/>
                  <a:moveTo>
                    <a:pt x="112" y="118"/>
                  </a:moveTo>
                  <a:cubicBezTo>
                    <a:pt x="105" y="138"/>
                    <a:pt x="105" y="138"/>
                    <a:pt x="105" y="138"/>
                  </a:cubicBezTo>
                  <a:cubicBezTo>
                    <a:pt x="93" y="138"/>
                    <a:pt x="93" y="138"/>
                    <a:pt x="93" y="138"/>
                  </a:cubicBezTo>
                  <a:cubicBezTo>
                    <a:pt x="93" y="124"/>
                    <a:pt x="93" y="124"/>
                    <a:pt x="93" y="124"/>
                  </a:cubicBezTo>
                  <a:cubicBezTo>
                    <a:pt x="89" y="124"/>
                    <a:pt x="89" y="124"/>
                    <a:pt x="89" y="124"/>
                  </a:cubicBezTo>
                  <a:cubicBezTo>
                    <a:pt x="89" y="138"/>
                    <a:pt x="89" y="138"/>
                    <a:pt x="89" y="138"/>
                  </a:cubicBezTo>
                  <a:cubicBezTo>
                    <a:pt x="29" y="138"/>
                    <a:pt x="29" y="138"/>
                    <a:pt x="29" y="138"/>
                  </a:cubicBezTo>
                  <a:cubicBezTo>
                    <a:pt x="29" y="124"/>
                    <a:pt x="29" y="124"/>
                    <a:pt x="29" y="124"/>
                  </a:cubicBezTo>
                  <a:cubicBezTo>
                    <a:pt x="24" y="124"/>
                    <a:pt x="24" y="124"/>
                    <a:pt x="24" y="124"/>
                  </a:cubicBezTo>
                  <a:cubicBezTo>
                    <a:pt x="24" y="138"/>
                    <a:pt x="24" y="138"/>
                    <a:pt x="24" y="138"/>
                  </a:cubicBezTo>
                  <a:cubicBezTo>
                    <a:pt x="12" y="138"/>
                    <a:pt x="12" y="138"/>
                    <a:pt x="12" y="138"/>
                  </a:cubicBezTo>
                  <a:cubicBezTo>
                    <a:pt x="6" y="118"/>
                    <a:pt x="6" y="118"/>
                    <a:pt x="6" y="118"/>
                  </a:cubicBezTo>
                  <a:cubicBezTo>
                    <a:pt x="4" y="113"/>
                    <a:pt x="5" y="108"/>
                    <a:pt x="6" y="103"/>
                  </a:cubicBezTo>
                  <a:cubicBezTo>
                    <a:pt x="9" y="92"/>
                    <a:pt x="19" y="84"/>
                    <a:pt x="30" y="83"/>
                  </a:cubicBezTo>
                  <a:cubicBezTo>
                    <a:pt x="59" y="136"/>
                    <a:pt x="59" y="136"/>
                    <a:pt x="59" y="136"/>
                  </a:cubicBezTo>
                  <a:cubicBezTo>
                    <a:pt x="87" y="83"/>
                    <a:pt x="87" y="83"/>
                    <a:pt x="87" y="83"/>
                  </a:cubicBezTo>
                  <a:cubicBezTo>
                    <a:pt x="98" y="84"/>
                    <a:pt x="108" y="92"/>
                    <a:pt x="111" y="103"/>
                  </a:cubicBezTo>
                  <a:cubicBezTo>
                    <a:pt x="113" y="108"/>
                    <a:pt x="113" y="113"/>
                    <a:pt x="112" y="118"/>
                  </a:cubicBezTo>
                  <a:close/>
                  <a:moveTo>
                    <a:pt x="43" y="62"/>
                  </a:moveTo>
                  <a:cubicBezTo>
                    <a:pt x="45" y="64"/>
                    <a:pt x="46" y="65"/>
                    <a:pt x="47" y="67"/>
                  </a:cubicBezTo>
                  <a:cubicBezTo>
                    <a:pt x="43" y="67"/>
                    <a:pt x="43" y="67"/>
                    <a:pt x="43" y="67"/>
                  </a:cubicBezTo>
                  <a:cubicBezTo>
                    <a:pt x="43" y="71"/>
                    <a:pt x="43" y="71"/>
                    <a:pt x="43" y="71"/>
                  </a:cubicBezTo>
                  <a:cubicBezTo>
                    <a:pt x="47" y="71"/>
                    <a:pt x="47" y="71"/>
                    <a:pt x="47" y="71"/>
                  </a:cubicBezTo>
                  <a:cubicBezTo>
                    <a:pt x="47" y="71"/>
                    <a:pt x="47" y="71"/>
                    <a:pt x="47" y="71"/>
                  </a:cubicBezTo>
                  <a:cubicBezTo>
                    <a:pt x="47" y="71"/>
                    <a:pt x="47" y="71"/>
                    <a:pt x="47" y="71"/>
                  </a:cubicBezTo>
                  <a:cubicBezTo>
                    <a:pt x="47" y="78"/>
                    <a:pt x="52" y="83"/>
                    <a:pt x="59" y="83"/>
                  </a:cubicBezTo>
                  <a:cubicBezTo>
                    <a:pt x="65" y="83"/>
                    <a:pt x="70" y="78"/>
                    <a:pt x="70" y="71"/>
                  </a:cubicBezTo>
                  <a:cubicBezTo>
                    <a:pt x="70" y="71"/>
                    <a:pt x="70" y="71"/>
                    <a:pt x="70" y="71"/>
                  </a:cubicBezTo>
                  <a:cubicBezTo>
                    <a:pt x="70" y="71"/>
                    <a:pt x="70" y="71"/>
                    <a:pt x="70" y="71"/>
                  </a:cubicBezTo>
                  <a:cubicBezTo>
                    <a:pt x="75" y="71"/>
                    <a:pt x="75" y="71"/>
                    <a:pt x="75" y="71"/>
                  </a:cubicBezTo>
                  <a:cubicBezTo>
                    <a:pt x="75" y="67"/>
                    <a:pt x="75" y="67"/>
                    <a:pt x="75" y="67"/>
                  </a:cubicBezTo>
                  <a:cubicBezTo>
                    <a:pt x="71" y="67"/>
                    <a:pt x="71" y="67"/>
                    <a:pt x="71" y="67"/>
                  </a:cubicBezTo>
                  <a:cubicBezTo>
                    <a:pt x="71" y="65"/>
                    <a:pt x="72" y="63"/>
                    <a:pt x="74" y="62"/>
                  </a:cubicBezTo>
                  <a:cubicBezTo>
                    <a:pt x="82" y="57"/>
                    <a:pt x="87" y="48"/>
                    <a:pt x="87" y="38"/>
                  </a:cubicBezTo>
                  <a:cubicBezTo>
                    <a:pt x="87" y="22"/>
                    <a:pt x="74" y="9"/>
                    <a:pt x="58" y="10"/>
                  </a:cubicBezTo>
                  <a:cubicBezTo>
                    <a:pt x="43" y="10"/>
                    <a:pt x="31" y="22"/>
                    <a:pt x="30" y="37"/>
                  </a:cubicBezTo>
                  <a:cubicBezTo>
                    <a:pt x="30" y="47"/>
                    <a:pt x="35" y="57"/>
                    <a:pt x="43" y="62"/>
                  </a:cubicBezTo>
                  <a:close/>
                  <a:moveTo>
                    <a:pt x="59" y="78"/>
                  </a:moveTo>
                  <a:cubicBezTo>
                    <a:pt x="55" y="78"/>
                    <a:pt x="52" y="75"/>
                    <a:pt x="52" y="71"/>
                  </a:cubicBezTo>
                  <a:cubicBezTo>
                    <a:pt x="66" y="71"/>
                    <a:pt x="66" y="71"/>
                    <a:pt x="66" y="71"/>
                  </a:cubicBezTo>
                  <a:cubicBezTo>
                    <a:pt x="66" y="75"/>
                    <a:pt x="63" y="78"/>
                    <a:pt x="59" y="78"/>
                  </a:cubicBezTo>
                  <a:close/>
                  <a:moveTo>
                    <a:pt x="58" y="14"/>
                  </a:moveTo>
                  <a:cubicBezTo>
                    <a:pt x="71" y="14"/>
                    <a:pt x="83" y="25"/>
                    <a:pt x="83" y="38"/>
                  </a:cubicBezTo>
                  <a:cubicBezTo>
                    <a:pt x="83" y="46"/>
                    <a:pt x="79" y="54"/>
                    <a:pt x="72" y="59"/>
                  </a:cubicBezTo>
                  <a:cubicBezTo>
                    <a:pt x="68" y="60"/>
                    <a:pt x="66" y="63"/>
                    <a:pt x="66" y="67"/>
                  </a:cubicBezTo>
                  <a:cubicBezTo>
                    <a:pt x="61" y="67"/>
                    <a:pt x="61" y="67"/>
                    <a:pt x="61" y="67"/>
                  </a:cubicBezTo>
                  <a:cubicBezTo>
                    <a:pt x="61" y="55"/>
                    <a:pt x="61" y="55"/>
                    <a:pt x="61" y="55"/>
                  </a:cubicBezTo>
                  <a:cubicBezTo>
                    <a:pt x="65" y="54"/>
                    <a:pt x="68" y="50"/>
                    <a:pt x="68" y="46"/>
                  </a:cubicBezTo>
                  <a:cubicBezTo>
                    <a:pt x="68" y="41"/>
                    <a:pt x="64" y="37"/>
                    <a:pt x="59" y="37"/>
                  </a:cubicBezTo>
                  <a:cubicBezTo>
                    <a:pt x="54" y="37"/>
                    <a:pt x="49" y="41"/>
                    <a:pt x="49" y="46"/>
                  </a:cubicBezTo>
                  <a:cubicBezTo>
                    <a:pt x="49" y="50"/>
                    <a:pt x="52" y="54"/>
                    <a:pt x="56" y="55"/>
                  </a:cubicBezTo>
                  <a:cubicBezTo>
                    <a:pt x="56" y="67"/>
                    <a:pt x="56" y="67"/>
                    <a:pt x="56" y="67"/>
                  </a:cubicBezTo>
                  <a:cubicBezTo>
                    <a:pt x="52" y="67"/>
                    <a:pt x="52" y="67"/>
                    <a:pt x="52" y="67"/>
                  </a:cubicBezTo>
                  <a:cubicBezTo>
                    <a:pt x="51" y="63"/>
                    <a:pt x="49" y="61"/>
                    <a:pt x="46" y="59"/>
                  </a:cubicBezTo>
                  <a:cubicBezTo>
                    <a:pt x="39" y="54"/>
                    <a:pt x="34" y="46"/>
                    <a:pt x="35" y="37"/>
                  </a:cubicBezTo>
                  <a:cubicBezTo>
                    <a:pt x="35" y="25"/>
                    <a:pt x="45" y="15"/>
                    <a:pt x="58" y="14"/>
                  </a:cubicBezTo>
                  <a:close/>
                  <a:moveTo>
                    <a:pt x="59" y="51"/>
                  </a:moveTo>
                  <a:cubicBezTo>
                    <a:pt x="56" y="51"/>
                    <a:pt x="54" y="49"/>
                    <a:pt x="54" y="46"/>
                  </a:cubicBezTo>
                  <a:cubicBezTo>
                    <a:pt x="54" y="44"/>
                    <a:pt x="56" y="42"/>
                    <a:pt x="59" y="42"/>
                  </a:cubicBezTo>
                  <a:cubicBezTo>
                    <a:pt x="61" y="42"/>
                    <a:pt x="63" y="44"/>
                    <a:pt x="63" y="46"/>
                  </a:cubicBezTo>
                  <a:cubicBezTo>
                    <a:pt x="63" y="49"/>
                    <a:pt x="61" y="51"/>
                    <a:pt x="59" y="51"/>
                  </a:cubicBezTo>
                  <a:close/>
                  <a:moveTo>
                    <a:pt x="93" y="35"/>
                  </a:moveTo>
                  <a:cubicBezTo>
                    <a:pt x="98" y="35"/>
                    <a:pt x="98" y="35"/>
                    <a:pt x="98" y="35"/>
                  </a:cubicBezTo>
                  <a:cubicBezTo>
                    <a:pt x="98" y="39"/>
                    <a:pt x="98" y="39"/>
                    <a:pt x="98" y="39"/>
                  </a:cubicBezTo>
                  <a:cubicBezTo>
                    <a:pt x="93" y="39"/>
                    <a:pt x="93" y="39"/>
                    <a:pt x="93" y="39"/>
                  </a:cubicBezTo>
                  <a:lnTo>
                    <a:pt x="93" y="35"/>
                  </a:lnTo>
                  <a:close/>
                  <a:moveTo>
                    <a:pt x="20" y="35"/>
                  </a:moveTo>
                  <a:cubicBezTo>
                    <a:pt x="24" y="35"/>
                    <a:pt x="24" y="35"/>
                    <a:pt x="24" y="35"/>
                  </a:cubicBezTo>
                  <a:cubicBezTo>
                    <a:pt x="24" y="39"/>
                    <a:pt x="24" y="39"/>
                    <a:pt x="24" y="39"/>
                  </a:cubicBezTo>
                  <a:cubicBezTo>
                    <a:pt x="20" y="39"/>
                    <a:pt x="20" y="39"/>
                    <a:pt x="20" y="39"/>
                  </a:cubicBezTo>
                  <a:lnTo>
                    <a:pt x="20" y="35"/>
                  </a:lnTo>
                  <a:close/>
                  <a:moveTo>
                    <a:pt x="56" y="0"/>
                  </a:moveTo>
                  <a:cubicBezTo>
                    <a:pt x="61" y="0"/>
                    <a:pt x="61" y="0"/>
                    <a:pt x="61" y="0"/>
                  </a:cubicBezTo>
                  <a:cubicBezTo>
                    <a:pt x="61" y="5"/>
                    <a:pt x="61" y="5"/>
                    <a:pt x="61" y="5"/>
                  </a:cubicBezTo>
                  <a:cubicBezTo>
                    <a:pt x="56" y="5"/>
                    <a:pt x="56" y="5"/>
                    <a:pt x="56" y="5"/>
                  </a:cubicBezTo>
                  <a:lnTo>
                    <a:pt x="56" y="0"/>
                  </a:lnTo>
                  <a:close/>
                  <a:moveTo>
                    <a:pt x="85" y="66"/>
                  </a:moveTo>
                  <a:cubicBezTo>
                    <a:pt x="81" y="63"/>
                    <a:pt x="81" y="63"/>
                    <a:pt x="81" y="63"/>
                  </a:cubicBezTo>
                  <a:cubicBezTo>
                    <a:pt x="85" y="60"/>
                    <a:pt x="85" y="60"/>
                    <a:pt x="85" y="60"/>
                  </a:cubicBezTo>
                  <a:cubicBezTo>
                    <a:pt x="88" y="63"/>
                    <a:pt x="88" y="63"/>
                    <a:pt x="88" y="63"/>
                  </a:cubicBezTo>
                  <a:lnTo>
                    <a:pt x="85" y="66"/>
                  </a:lnTo>
                  <a:close/>
                  <a:moveTo>
                    <a:pt x="33" y="8"/>
                  </a:moveTo>
                  <a:cubicBezTo>
                    <a:pt x="36" y="11"/>
                    <a:pt x="36" y="11"/>
                    <a:pt x="36" y="11"/>
                  </a:cubicBezTo>
                  <a:cubicBezTo>
                    <a:pt x="33" y="14"/>
                    <a:pt x="33" y="14"/>
                    <a:pt x="33" y="14"/>
                  </a:cubicBezTo>
                  <a:cubicBezTo>
                    <a:pt x="30" y="11"/>
                    <a:pt x="30" y="11"/>
                    <a:pt x="30" y="11"/>
                  </a:cubicBezTo>
                  <a:lnTo>
                    <a:pt x="33" y="8"/>
                  </a:lnTo>
                  <a:close/>
                  <a:moveTo>
                    <a:pt x="33" y="60"/>
                  </a:moveTo>
                  <a:cubicBezTo>
                    <a:pt x="36" y="63"/>
                    <a:pt x="36" y="63"/>
                    <a:pt x="36" y="63"/>
                  </a:cubicBezTo>
                  <a:cubicBezTo>
                    <a:pt x="33" y="66"/>
                    <a:pt x="33" y="66"/>
                    <a:pt x="33" y="66"/>
                  </a:cubicBezTo>
                  <a:cubicBezTo>
                    <a:pt x="30" y="63"/>
                    <a:pt x="30" y="63"/>
                    <a:pt x="30" y="63"/>
                  </a:cubicBezTo>
                  <a:lnTo>
                    <a:pt x="33" y="60"/>
                  </a:lnTo>
                  <a:close/>
                  <a:moveTo>
                    <a:pt x="85" y="8"/>
                  </a:moveTo>
                  <a:cubicBezTo>
                    <a:pt x="88" y="11"/>
                    <a:pt x="88" y="11"/>
                    <a:pt x="88" y="11"/>
                  </a:cubicBezTo>
                  <a:cubicBezTo>
                    <a:pt x="85" y="14"/>
                    <a:pt x="85" y="14"/>
                    <a:pt x="85" y="14"/>
                  </a:cubicBezTo>
                  <a:cubicBezTo>
                    <a:pt x="81" y="11"/>
                    <a:pt x="81" y="11"/>
                    <a:pt x="81" y="11"/>
                  </a:cubicBezTo>
                  <a:lnTo>
                    <a:pt x="85" y="8"/>
                  </a:lnTo>
                  <a:close/>
                </a:path>
              </a:pathLst>
            </a:custGeom>
            <a:grpFill/>
            <a:ln>
              <a:solidFill>
                <a:srgbClr val="C3B69B"/>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grpSp>
      <p:sp>
        <p:nvSpPr>
          <p:cNvPr id="139" name="Oval 166">
            <a:extLst>
              <a:ext uri="{FF2B5EF4-FFF2-40B4-BE49-F238E27FC236}">
                <a16:creationId xmlns:a16="http://schemas.microsoft.com/office/drawing/2014/main" id="{58587C7A-DA5C-4ED2-BD77-DDDD75D9D0F7}"/>
              </a:ext>
            </a:extLst>
          </p:cNvPr>
          <p:cNvSpPr>
            <a:spLocks noChangeArrowheads="1"/>
          </p:cNvSpPr>
          <p:nvPr/>
        </p:nvSpPr>
        <p:spPr bwMode="auto">
          <a:xfrm>
            <a:off x="5819002" y="4267809"/>
            <a:ext cx="540116" cy="520064"/>
          </a:xfrm>
          <a:prstGeom prst="ellipse">
            <a:avLst/>
          </a:prstGeom>
          <a:solidFill>
            <a:schemeClr val="bg1"/>
          </a:solidFill>
          <a:ln>
            <a:solidFill>
              <a:schemeClr val="tx2"/>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grpSp>
        <p:nvGrpSpPr>
          <p:cNvPr id="141" name="Group 140">
            <a:extLst>
              <a:ext uri="{FF2B5EF4-FFF2-40B4-BE49-F238E27FC236}">
                <a16:creationId xmlns:a16="http://schemas.microsoft.com/office/drawing/2014/main" id="{114696BF-8788-4C0B-B3CD-9D4EAA87222B}"/>
              </a:ext>
            </a:extLst>
          </p:cNvPr>
          <p:cNvGrpSpPr/>
          <p:nvPr/>
        </p:nvGrpSpPr>
        <p:grpSpPr>
          <a:xfrm>
            <a:off x="5873142" y="2852073"/>
            <a:ext cx="473963" cy="485315"/>
            <a:chOff x="2340351" y="1467461"/>
            <a:chExt cx="631950" cy="647087"/>
          </a:xfrm>
          <a:solidFill>
            <a:schemeClr val="bg1"/>
          </a:solidFill>
        </p:grpSpPr>
        <p:sp>
          <p:nvSpPr>
            <p:cNvPr id="142" name="Oval 166">
              <a:extLst>
                <a:ext uri="{FF2B5EF4-FFF2-40B4-BE49-F238E27FC236}">
                  <a16:creationId xmlns:a16="http://schemas.microsoft.com/office/drawing/2014/main" id="{3682F332-99F7-4031-B114-38C51EFB4B6E}"/>
                </a:ext>
              </a:extLst>
            </p:cNvPr>
            <p:cNvSpPr>
              <a:spLocks noChangeArrowheads="1"/>
            </p:cNvSpPr>
            <p:nvPr/>
          </p:nvSpPr>
          <p:spPr bwMode="auto">
            <a:xfrm>
              <a:off x="2340351" y="1467461"/>
              <a:ext cx="631950" cy="647087"/>
            </a:xfrm>
            <a:prstGeom prst="ellipse">
              <a:avLst/>
            </a:prstGeom>
            <a:grpFill/>
            <a:ln>
              <a:solidFill>
                <a:schemeClr val="tx2">
                  <a:lumMod val="75000"/>
                </a:schemeClr>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sp>
          <p:nvSpPr>
            <p:cNvPr id="143" name="Freeform 190">
              <a:extLst>
                <a:ext uri="{FF2B5EF4-FFF2-40B4-BE49-F238E27FC236}">
                  <a16:creationId xmlns:a16="http://schemas.microsoft.com/office/drawing/2014/main" id="{3005C0F2-8D10-4F61-87BD-873DA25A4136}"/>
                </a:ext>
              </a:extLst>
            </p:cNvPr>
            <p:cNvSpPr>
              <a:spLocks noEditPoints="1"/>
            </p:cNvSpPr>
            <p:nvPr/>
          </p:nvSpPr>
          <p:spPr bwMode="auto">
            <a:xfrm>
              <a:off x="2454674" y="1532495"/>
              <a:ext cx="447764" cy="468244"/>
            </a:xfrm>
            <a:custGeom>
              <a:avLst/>
              <a:gdLst>
                <a:gd name="T0" fmla="*/ 102 w 141"/>
                <a:gd name="T1" fmla="*/ 88 h 144"/>
                <a:gd name="T2" fmla="*/ 112 w 141"/>
                <a:gd name="T3" fmla="*/ 90 h 144"/>
                <a:gd name="T4" fmla="*/ 100 w 141"/>
                <a:gd name="T5" fmla="*/ 98 h 144"/>
                <a:gd name="T6" fmla="*/ 136 w 141"/>
                <a:gd name="T7" fmla="*/ 141 h 144"/>
                <a:gd name="T8" fmla="*/ 118 w 141"/>
                <a:gd name="T9" fmla="*/ 125 h 144"/>
                <a:gd name="T10" fmla="*/ 120 w 141"/>
                <a:gd name="T11" fmla="*/ 121 h 144"/>
                <a:gd name="T12" fmla="*/ 109 w 141"/>
                <a:gd name="T13" fmla="*/ 143 h 144"/>
                <a:gd name="T14" fmla="*/ 1 w 141"/>
                <a:gd name="T15" fmla="*/ 110 h 144"/>
                <a:gd name="T16" fmla="*/ 33 w 141"/>
                <a:gd name="T17" fmla="*/ 69 h 144"/>
                <a:gd name="T18" fmla="*/ 53 w 141"/>
                <a:gd name="T19" fmla="*/ 89 h 144"/>
                <a:gd name="T20" fmla="*/ 69 w 141"/>
                <a:gd name="T21" fmla="*/ 78 h 144"/>
                <a:gd name="T22" fmla="*/ 69 w 141"/>
                <a:gd name="T23" fmla="*/ 103 h 144"/>
                <a:gd name="T24" fmla="*/ 106 w 141"/>
                <a:gd name="T25" fmla="*/ 78 h 144"/>
                <a:gd name="T26" fmla="*/ 133 w 141"/>
                <a:gd name="T27" fmla="*/ 100 h 144"/>
                <a:gd name="T28" fmla="*/ 126 w 141"/>
                <a:gd name="T29" fmla="*/ 121 h 144"/>
                <a:gd name="T30" fmla="*/ 138 w 141"/>
                <a:gd name="T31" fmla="*/ 132 h 144"/>
                <a:gd name="T32" fmla="*/ 110 w 141"/>
                <a:gd name="T33" fmla="*/ 82 h 144"/>
                <a:gd name="T34" fmla="*/ 110 w 141"/>
                <a:gd name="T35" fmla="*/ 118 h 144"/>
                <a:gd name="T36" fmla="*/ 110 w 141"/>
                <a:gd name="T37" fmla="*/ 82 h 144"/>
                <a:gd name="T38" fmla="*/ 59 w 141"/>
                <a:gd name="T39" fmla="*/ 126 h 144"/>
                <a:gd name="T40" fmla="*/ 61 w 141"/>
                <a:gd name="T41" fmla="*/ 89 h 144"/>
                <a:gd name="T42" fmla="*/ 56 w 141"/>
                <a:gd name="T43" fmla="*/ 83 h 144"/>
                <a:gd name="T44" fmla="*/ 52 w 141"/>
                <a:gd name="T45" fmla="*/ 110 h 144"/>
                <a:gd name="T46" fmla="*/ 105 w 141"/>
                <a:gd name="T47" fmla="*/ 138 h 144"/>
                <a:gd name="T48" fmla="*/ 87 w 141"/>
                <a:gd name="T49" fmla="*/ 100 h 144"/>
                <a:gd name="T50" fmla="*/ 87 w 141"/>
                <a:gd name="T51" fmla="*/ 74 h 144"/>
                <a:gd name="T52" fmla="*/ 31 w 141"/>
                <a:gd name="T53" fmla="*/ 74 h 144"/>
                <a:gd name="T54" fmla="*/ 6 w 141"/>
                <a:gd name="T55" fmla="*/ 109 h 144"/>
                <a:gd name="T56" fmla="*/ 25 w 141"/>
                <a:gd name="T57" fmla="*/ 138 h 144"/>
                <a:gd name="T58" fmla="*/ 29 w 141"/>
                <a:gd name="T59" fmla="*/ 124 h 144"/>
                <a:gd name="T60" fmla="*/ 89 w 141"/>
                <a:gd name="T61" fmla="*/ 138 h 144"/>
                <a:gd name="T62" fmla="*/ 93 w 141"/>
                <a:gd name="T63" fmla="*/ 124 h 144"/>
                <a:gd name="T64" fmla="*/ 135 w 141"/>
                <a:gd name="T65" fmla="*/ 134 h 144"/>
                <a:gd name="T66" fmla="*/ 124 w 141"/>
                <a:gd name="T67" fmla="*/ 127 h 144"/>
                <a:gd name="T68" fmla="*/ 134 w 141"/>
                <a:gd name="T69" fmla="*/ 138 h 144"/>
                <a:gd name="T70" fmla="*/ 29 w 141"/>
                <a:gd name="T71" fmla="*/ 30 h 144"/>
                <a:gd name="T72" fmla="*/ 89 w 141"/>
                <a:gd name="T73" fmla="*/ 30 h 144"/>
                <a:gd name="T74" fmla="*/ 29 w 141"/>
                <a:gd name="T75" fmla="*/ 30 h 144"/>
                <a:gd name="T76" fmla="*/ 64 w 141"/>
                <a:gd name="T77" fmla="*/ 13 h 144"/>
                <a:gd name="T78" fmla="*/ 68 w 141"/>
                <a:gd name="T79" fmla="*/ 13 h 144"/>
                <a:gd name="T80" fmla="*/ 80 w 141"/>
                <a:gd name="T81" fmla="*/ 16 h 144"/>
                <a:gd name="T82" fmla="*/ 37 w 141"/>
                <a:gd name="T83" fmla="*/ 18 h 144"/>
                <a:gd name="T84" fmla="*/ 59 w 141"/>
                <a:gd name="T85" fmla="*/ 69 h 144"/>
                <a:gd name="T86" fmla="*/ 82 w 141"/>
                <a:gd name="T87" fmla="*/ 20 h 144"/>
                <a:gd name="T88" fmla="*/ 66 w 141"/>
                <a:gd name="T89" fmla="*/ 18 h 144"/>
                <a:gd name="T90" fmla="*/ 35 w 141"/>
                <a:gd name="T91" fmla="*/ 2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44">
                  <a:moveTo>
                    <a:pt x="96" y="97"/>
                  </a:moveTo>
                  <a:cubicBezTo>
                    <a:pt x="97" y="93"/>
                    <a:pt x="99" y="90"/>
                    <a:pt x="102" y="88"/>
                  </a:cubicBezTo>
                  <a:cubicBezTo>
                    <a:pt x="106" y="85"/>
                    <a:pt x="109" y="85"/>
                    <a:pt x="113" y="86"/>
                  </a:cubicBezTo>
                  <a:cubicBezTo>
                    <a:pt x="112" y="90"/>
                    <a:pt x="112" y="90"/>
                    <a:pt x="112" y="90"/>
                  </a:cubicBezTo>
                  <a:cubicBezTo>
                    <a:pt x="110" y="89"/>
                    <a:pt x="107" y="90"/>
                    <a:pt x="105" y="91"/>
                  </a:cubicBezTo>
                  <a:cubicBezTo>
                    <a:pt x="102" y="93"/>
                    <a:pt x="101" y="95"/>
                    <a:pt x="100" y="98"/>
                  </a:cubicBezTo>
                  <a:lnTo>
                    <a:pt x="96" y="97"/>
                  </a:lnTo>
                  <a:close/>
                  <a:moveTo>
                    <a:pt x="136" y="141"/>
                  </a:moveTo>
                  <a:cubicBezTo>
                    <a:pt x="132" y="144"/>
                    <a:pt x="129" y="142"/>
                    <a:pt x="127" y="139"/>
                  </a:cubicBezTo>
                  <a:cubicBezTo>
                    <a:pt x="118" y="125"/>
                    <a:pt x="118" y="125"/>
                    <a:pt x="118" y="125"/>
                  </a:cubicBezTo>
                  <a:cubicBezTo>
                    <a:pt x="122" y="123"/>
                    <a:pt x="122" y="123"/>
                    <a:pt x="122" y="123"/>
                  </a:cubicBezTo>
                  <a:cubicBezTo>
                    <a:pt x="120" y="121"/>
                    <a:pt x="120" y="121"/>
                    <a:pt x="120" y="121"/>
                  </a:cubicBezTo>
                  <a:cubicBezTo>
                    <a:pt x="118" y="122"/>
                    <a:pt x="116" y="122"/>
                    <a:pt x="114" y="123"/>
                  </a:cubicBezTo>
                  <a:cubicBezTo>
                    <a:pt x="109" y="143"/>
                    <a:pt x="109" y="143"/>
                    <a:pt x="109" y="143"/>
                  </a:cubicBezTo>
                  <a:cubicBezTo>
                    <a:pt x="9" y="143"/>
                    <a:pt x="9" y="143"/>
                    <a:pt x="9" y="143"/>
                  </a:cubicBezTo>
                  <a:cubicBezTo>
                    <a:pt x="1" y="110"/>
                    <a:pt x="1" y="110"/>
                    <a:pt x="1" y="110"/>
                  </a:cubicBezTo>
                  <a:cubicBezTo>
                    <a:pt x="0" y="104"/>
                    <a:pt x="0" y="98"/>
                    <a:pt x="2" y="93"/>
                  </a:cubicBezTo>
                  <a:cubicBezTo>
                    <a:pt x="9" y="69"/>
                    <a:pt x="33" y="69"/>
                    <a:pt x="33" y="69"/>
                  </a:cubicBezTo>
                  <a:cubicBezTo>
                    <a:pt x="49" y="103"/>
                    <a:pt x="49" y="103"/>
                    <a:pt x="49" y="103"/>
                  </a:cubicBezTo>
                  <a:cubicBezTo>
                    <a:pt x="53" y="89"/>
                    <a:pt x="53" y="89"/>
                    <a:pt x="53" y="89"/>
                  </a:cubicBezTo>
                  <a:cubicBezTo>
                    <a:pt x="49" y="78"/>
                    <a:pt x="49" y="78"/>
                    <a:pt x="49" y="78"/>
                  </a:cubicBezTo>
                  <a:cubicBezTo>
                    <a:pt x="69" y="78"/>
                    <a:pt x="69" y="78"/>
                    <a:pt x="69" y="78"/>
                  </a:cubicBezTo>
                  <a:cubicBezTo>
                    <a:pt x="65" y="89"/>
                    <a:pt x="65" y="89"/>
                    <a:pt x="65" y="89"/>
                  </a:cubicBezTo>
                  <a:cubicBezTo>
                    <a:pt x="69" y="103"/>
                    <a:pt x="69" y="103"/>
                    <a:pt x="69" y="103"/>
                  </a:cubicBezTo>
                  <a:cubicBezTo>
                    <a:pt x="84" y="69"/>
                    <a:pt x="84" y="69"/>
                    <a:pt x="84" y="69"/>
                  </a:cubicBezTo>
                  <a:cubicBezTo>
                    <a:pt x="84" y="69"/>
                    <a:pt x="96" y="69"/>
                    <a:pt x="106" y="78"/>
                  </a:cubicBezTo>
                  <a:cubicBezTo>
                    <a:pt x="107" y="77"/>
                    <a:pt x="109" y="77"/>
                    <a:pt x="110" y="77"/>
                  </a:cubicBezTo>
                  <a:cubicBezTo>
                    <a:pt x="123" y="77"/>
                    <a:pt x="133" y="87"/>
                    <a:pt x="133" y="100"/>
                  </a:cubicBezTo>
                  <a:cubicBezTo>
                    <a:pt x="133" y="107"/>
                    <a:pt x="130" y="114"/>
                    <a:pt x="124" y="118"/>
                  </a:cubicBezTo>
                  <a:cubicBezTo>
                    <a:pt x="126" y="121"/>
                    <a:pt x="126" y="121"/>
                    <a:pt x="126" y="121"/>
                  </a:cubicBezTo>
                  <a:cubicBezTo>
                    <a:pt x="130" y="118"/>
                    <a:pt x="130" y="118"/>
                    <a:pt x="130" y="118"/>
                  </a:cubicBezTo>
                  <a:cubicBezTo>
                    <a:pt x="138" y="132"/>
                    <a:pt x="138" y="132"/>
                    <a:pt x="138" y="132"/>
                  </a:cubicBezTo>
                  <a:cubicBezTo>
                    <a:pt x="139" y="134"/>
                    <a:pt x="141" y="139"/>
                    <a:pt x="136" y="141"/>
                  </a:cubicBezTo>
                  <a:close/>
                  <a:moveTo>
                    <a:pt x="110" y="82"/>
                  </a:moveTo>
                  <a:cubicBezTo>
                    <a:pt x="100" y="82"/>
                    <a:pt x="92" y="90"/>
                    <a:pt x="92" y="100"/>
                  </a:cubicBezTo>
                  <a:cubicBezTo>
                    <a:pt x="92" y="110"/>
                    <a:pt x="100" y="118"/>
                    <a:pt x="110" y="118"/>
                  </a:cubicBezTo>
                  <a:cubicBezTo>
                    <a:pt x="120" y="118"/>
                    <a:pt x="128" y="110"/>
                    <a:pt x="128" y="100"/>
                  </a:cubicBezTo>
                  <a:cubicBezTo>
                    <a:pt x="128" y="90"/>
                    <a:pt x="120" y="82"/>
                    <a:pt x="110" y="82"/>
                  </a:cubicBezTo>
                  <a:close/>
                  <a:moveTo>
                    <a:pt x="52" y="110"/>
                  </a:moveTo>
                  <a:cubicBezTo>
                    <a:pt x="59" y="126"/>
                    <a:pt x="59" y="126"/>
                    <a:pt x="59" y="126"/>
                  </a:cubicBezTo>
                  <a:cubicBezTo>
                    <a:pt x="66" y="110"/>
                    <a:pt x="66" y="110"/>
                    <a:pt x="66" y="110"/>
                  </a:cubicBezTo>
                  <a:cubicBezTo>
                    <a:pt x="61" y="89"/>
                    <a:pt x="61" y="89"/>
                    <a:pt x="61" y="89"/>
                  </a:cubicBezTo>
                  <a:cubicBezTo>
                    <a:pt x="62" y="83"/>
                    <a:pt x="62" y="83"/>
                    <a:pt x="62" y="83"/>
                  </a:cubicBezTo>
                  <a:cubicBezTo>
                    <a:pt x="56" y="83"/>
                    <a:pt x="56" y="83"/>
                    <a:pt x="56" y="83"/>
                  </a:cubicBezTo>
                  <a:cubicBezTo>
                    <a:pt x="57" y="89"/>
                    <a:pt x="57" y="89"/>
                    <a:pt x="57" y="89"/>
                  </a:cubicBezTo>
                  <a:lnTo>
                    <a:pt x="52" y="110"/>
                  </a:lnTo>
                  <a:close/>
                  <a:moveTo>
                    <a:pt x="93" y="138"/>
                  </a:moveTo>
                  <a:cubicBezTo>
                    <a:pt x="105" y="138"/>
                    <a:pt x="105" y="138"/>
                    <a:pt x="105" y="138"/>
                  </a:cubicBezTo>
                  <a:cubicBezTo>
                    <a:pt x="109" y="123"/>
                    <a:pt x="109" y="123"/>
                    <a:pt x="109" y="123"/>
                  </a:cubicBezTo>
                  <a:cubicBezTo>
                    <a:pt x="97" y="122"/>
                    <a:pt x="87" y="112"/>
                    <a:pt x="87" y="100"/>
                  </a:cubicBezTo>
                  <a:cubicBezTo>
                    <a:pt x="87" y="91"/>
                    <a:pt x="93" y="83"/>
                    <a:pt x="101" y="79"/>
                  </a:cubicBezTo>
                  <a:cubicBezTo>
                    <a:pt x="97" y="76"/>
                    <a:pt x="92" y="75"/>
                    <a:pt x="87" y="74"/>
                  </a:cubicBezTo>
                  <a:cubicBezTo>
                    <a:pt x="59" y="137"/>
                    <a:pt x="59" y="137"/>
                    <a:pt x="59" y="137"/>
                  </a:cubicBezTo>
                  <a:cubicBezTo>
                    <a:pt x="31" y="74"/>
                    <a:pt x="31" y="74"/>
                    <a:pt x="31" y="74"/>
                  </a:cubicBezTo>
                  <a:cubicBezTo>
                    <a:pt x="19" y="75"/>
                    <a:pt x="10" y="83"/>
                    <a:pt x="6" y="94"/>
                  </a:cubicBezTo>
                  <a:cubicBezTo>
                    <a:pt x="5" y="99"/>
                    <a:pt x="5" y="104"/>
                    <a:pt x="6" y="109"/>
                  </a:cubicBezTo>
                  <a:cubicBezTo>
                    <a:pt x="13" y="138"/>
                    <a:pt x="13" y="138"/>
                    <a:pt x="13" y="138"/>
                  </a:cubicBezTo>
                  <a:cubicBezTo>
                    <a:pt x="25" y="138"/>
                    <a:pt x="25" y="138"/>
                    <a:pt x="25" y="138"/>
                  </a:cubicBezTo>
                  <a:cubicBezTo>
                    <a:pt x="25" y="124"/>
                    <a:pt x="25" y="124"/>
                    <a:pt x="25" y="124"/>
                  </a:cubicBezTo>
                  <a:cubicBezTo>
                    <a:pt x="29" y="124"/>
                    <a:pt x="29" y="124"/>
                    <a:pt x="29" y="124"/>
                  </a:cubicBezTo>
                  <a:cubicBezTo>
                    <a:pt x="29" y="138"/>
                    <a:pt x="29" y="138"/>
                    <a:pt x="29" y="138"/>
                  </a:cubicBezTo>
                  <a:cubicBezTo>
                    <a:pt x="89" y="138"/>
                    <a:pt x="89" y="138"/>
                    <a:pt x="89" y="138"/>
                  </a:cubicBezTo>
                  <a:cubicBezTo>
                    <a:pt x="89" y="124"/>
                    <a:pt x="89" y="124"/>
                    <a:pt x="89" y="124"/>
                  </a:cubicBezTo>
                  <a:cubicBezTo>
                    <a:pt x="93" y="124"/>
                    <a:pt x="93" y="124"/>
                    <a:pt x="93" y="124"/>
                  </a:cubicBezTo>
                  <a:cubicBezTo>
                    <a:pt x="93" y="138"/>
                    <a:pt x="93" y="138"/>
                    <a:pt x="93" y="138"/>
                  </a:cubicBezTo>
                  <a:close/>
                  <a:moveTo>
                    <a:pt x="135" y="134"/>
                  </a:moveTo>
                  <a:cubicBezTo>
                    <a:pt x="128" y="124"/>
                    <a:pt x="128" y="124"/>
                    <a:pt x="128" y="124"/>
                  </a:cubicBezTo>
                  <a:cubicBezTo>
                    <a:pt x="124" y="127"/>
                    <a:pt x="124" y="127"/>
                    <a:pt x="124" y="127"/>
                  </a:cubicBezTo>
                  <a:cubicBezTo>
                    <a:pt x="131" y="137"/>
                    <a:pt x="131" y="137"/>
                    <a:pt x="131" y="137"/>
                  </a:cubicBezTo>
                  <a:cubicBezTo>
                    <a:pt x="131" y="138"/>
                    <a:pt x="133" y="138"/>
                    <a:pt x="134" y="138"/>
                  </a:cubicBezTo>
                  <a:cubicBezTo>
                    <a:pt x="135" y="137"/>
                    <a:pt x="135" y="135"/>
                    <a:pt x="135" y="134"/>
                  </a:cubicBezTo>
                  <a:close/>
                  <a:moveTo>
                    <a:pt x="29" y="30"/>
                  </a:moveTo>
                  <a:cubicBezTo>
                    <a:pt x="29" y="14"/>
                    <a:pt x="43" y="0"/>
                    <a:pt x="59" y="0"/>
                  </a:cubicBezTo>
                  <a:cubicBezTo>
                    <a:pt x="75" y="0"/>
                    <a:pt x="89" y="14"/>
                    <a:pt x="89" y="30"/>
                  </a:cubicBezTo>
                  <a:cubicBezTo>
                    <a:pt x="89" y="46"/>
                    <a:pt x="77" y="74"/>
                    <a:pt x="59" y="74"/>
                  </a:cubicBezTo>
                  <a:cubicBezTo>
                    <a:pt x="41" y="74"/>
                    <a:pt x="29" y="46"/>
                    <a:pt x="29" y="30"/>
                  </a:cubicBezTo>
                  <a:close/>
                  <a:moveTo>
                    <a:pt x="37" y="18"/>
                  </a:moveTo>
                  <a:cubicBezTo>
                    <a:pt x="42" y="20"/>
                    <a:pt x="55" y="25"/>
                    <a:pt x="64" y="13"/>
                  </a:cubicBezTo>
                  <a:cubicBezTo>
                    <a:pt x="66" y="10"/>
                    <a:pt x="66" y="10"/>
                    <a:pt x="66" y="10"/>
                  </a:cubicBezTo>
                  <a:cubicBezTo>
                    <a:pt x="68" y="13"/>
                    <a:pt x="68" y="13"/>
                    <a:pt x="68" y="13"/>
                  </a:cubicBezTo>
                  <a:cubicBezTo>
                    <a:pt x="69" y="16"/>
                    <a:pt x="72" y="18"/>
                    <a:pt x="74" y="19"/>
                  </a:cubicBezTo>
                  <a:cubicBezTo>
                    <a:pt x="76" y="19"/>
                    <a:pt x="78" y="18"/>
                    <a:pt x="80" y="16"/>
                  </a:cubicBezTo>
                  <a:cubicBezTo>
                    <a:pt x="75" y="9"/>
                    <a:pt x="68" y="5"/>
                    <a:pt x="59" y="5"/>
                  </a:cubicBezTo>
                  <a:cubicBezTo>
                    <a:pt x="50" y="5"/>
                    <a:pt x="41" y="10"/>
                    <a:pt x="37" y="18"/>
                  </a:cubicBezTo>
                  <a:close/>
                  <a:moveTo>
                    <a:pt x="34" y="30"/>
                  </a:moveTo>
                  <a:cubicBezTo>
                    <a:pt x="34" y="45"/>
                    <a:pt x="46" y="69"/>
                    <a:pt x="59" y="69"/>
                  </a:cubicBezTo>
                  <a:cubicBezTo>
                    <a:pt x="72" y="69"/>
                    <a:pt x="84" y="45"/>
                    <a:pt x="84" y="30"/>
                  </a:cubicBezTo>
                  <a:cubicBezTo>
                    <a:pt x="84" y="27"/>
                    <a:pt x="83" y="23"/>
                    <a:pt x="82" y="20"/>
                  </a:cubicBezTo>
                  <a:cubicBezTo>
                    <a:pt x="80" y="22"/>
                    <a:pt x="77" y="23"/>
                    <a:pt x="74" y="23"/>
                  </a:cubicBezTo>
                  <a:cubicBezTo>
                    <a:pt x="71" y="23"/>
                    <a:pt x="68" y="21"/>
                    <a:pt x="66" y="18"/>
                  </a:cubicBezTo>
                  <a:cubicBezTo>
                    <a:pt x="60" y="24"/>
                    <a:pt x="54" y="26"/>
                    <a:pt x="49" y="26"/>
                  </a:cubicBezTo>
                  <a:cubicBezTo>
                    <a:pt x="43" y="26"/>
                    <a:pt x="38" y="24"/>
                    <a:pt x="35" y="22"/>
                  </a:cubicBezTo>
                  <a:cubicBezTo>
                    <a:pt x="34" y="25"/>
                    <a:pt x="34" y="27"/>
                    <a:pt x="34" y="30"/>
                  </a:cubicBezTo>
                  <a:close/>
                </a:path>
              </a:pathLst>
            </a:custGeom>
            <a:grpFill/>
            <a:ln>
              <a:solidFill>
                <a:srgbClr val="C3B69B"/>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grpSp>
      <p:sp>
        <p:nvSpPr>
          <p:cNvPr id="148" name="Oval 166">
            <a:extLst>
              <a:ext uri="{FF2B5EF4-FFF2-40B4-BE49-F238E27FC236}">
                <a16:creationId xmlns:a16="http://schemas.microsoft.com/office/drawing/2014/main" id="{D3884245-3FB4-48AF-B589-2C4CEDA80B50}"/>
              </a:ext>
            </a:extLst>
          </p:cNvPr>
          <p:cNvSpPr>
            <a:spLocks noChangeArrowheads="1"/>
          </p:cNvSpPr>
          <p:nvPr/>
        </p:nvSpPr>
        <p:spPr bwMode="auto">
          <a:xfrm>
            <a:off x="8749468" y="1340874"/>
            <a:ext cx="473963" cy="485315"/>
          </a:xfrm>
          <a:prstGeom prst="ellipse">
            <a:avLst/>
          </a:prstGeom>
          <a:solidFill>
            <a:schemeClr val="bg1"/>
          </a:solidFill>
          <a:ln>
            <a:solidFill>
              <a:schemeClr val="tx2"/>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grpSp>
        <p:nvGrpSpPr>
          <p:cNvPr id="23" name="Group 22"/>
          <p:cNvGrpSpPr/>
          <p:nvPr/>
        </p:nvGrpSpPr>
        <p:grpSpPr>
          <a:xfrm>
            <a:off x="5940347" y="4396836"/>
            <a:ext cx="306180" cy="279304"/>
            <a:chOff x="5732228" y="5225588"/>
            <a:chExt cx="548658" cy="500498"/>
          </a:xfrm>
          <a:solidFill>
            <a:schemeClr val="bg1"/>
          </a:solidFill>
        </p:grpSpPr>
        <p:sp>
          <p:nvSpPr>
            <p:cNvPr id="99" name="Google Shape;518;p37"/>
            <p:cNvSpPr/>
            <p:nvPr/>
          </p:nvSpPr>
          <p:spPr>
            <a:xfrm>
              <a:off x="5872647" y="5617332"/>
              <a:ext cx="267821" cy="108754"/>
            </a:xfrm>
            <a:custGeom>
              <a:avLst/>
              <a:gdLst/>
              <a:ahLst/>
              <a:cxnLst/>
              <a:rect l="l" t="t" r="r" b="b"/>
              <a:pathLst>
                <a:path w="9012" h="3800" fill="none" extrusionOk="0">
                  <a:moveTo>
                    <a:pt x="2947" y="0"/>
                  </a:moveTo>
                  <a:lnTo>
                    <a:pt x="2947" y="2947"/>
                  </a:lnTo>
                  <a:lnTo>
                    <a:pt x="853" y="2947"/>
                  </a:lnTo>
                  <a:lnTo>
                    <a:pt x="853" y="2947"/>
                  </a:lnTo>
                  <a:lnTo>
                    <a:pt x="682" y="2947"/>
                  </a:lnTo>
                  <a:lnTo>
                    <a:pt x="512" y="2996"/>
                  </a:lnTo>
                  <a:lnTo>
                    <a:pt x="365" y="3093"/>
                  </a:lnTo>
                  <a:lnTo>
                    <a:pt x="244" y="3191"/>
                  </a:lnTo>
                  <a:lnTo>
                    <a:pt x="146" y="3313"/>
                  </a:lnTo>
                  <a:lnTo>
                    <a:pt x="49" y="3459"/>
                  </a:lnTo>
                  <a:lnTo>
                    <a:pt x="0" y="3629"/>
                  </a:lnTo>
                  <a:lnTo>
                    <a:pt x="0" y="3800"/>
                  </a:lnTo>
                  <a:lnTo>
                    <a:pt x="9011" y="3800"/>
                  </a:lnTo>
                  <a:lnTo>
                    <a:pt x="9011" y="3800"/>
                  </a:lnTo>
                  <a:lnTo>
                    <a:pt x="9011" y="3629"/>
                  </a:lnTo>
                  <a:lnTo>
                    <a:pt x="8963" y="3459"/>
                  </a:lnTo>
                  <a:lnTo>
                    <a:pt x="8865" y="3313"/>
                  </a:lnTo>
                  <a:lnTo>
                    <a:pt x="8768" y="3191"/>
                  </a:lnTo>
                  <a:lnTo>
                    <a:pt x="8646" y="3093"/>
                  </a:lnTo>
                  <a:lnTo>
                    <a:pt x="8500" y="2996"/>
                  </a:lnTo>
                  <a:lnTo>
                    <a:pt x="8330" y="2947"/>
                  </a:lnTo>
                  <a:lnTo>
                    <a:pt x="8159" y="2947"/>
                  </a:lnTo>
                  <a:lnTo>
                    <a:pt x="6065" y="2947"/>
                  </a:lnTo>
                  <a:lnTo>
                    <a:pt x="6065" y="0"/>
                  </a:lnTo>
                </a:path>
              </a:pathLst>
            </a:custGeom>
            <a:grpFill/>
            <a:ln w="12175" cap="rnd" cmpd="sng">
              <a:solidFill>
                <a:srgbClr val="C3B69B"/>
              </a:solidFill>
              <a:prstDash val="solid"/>
              <a:round/>
              <a:headEnd type="none" w="sm" len="sm"/>
              <a:tailEnd type="none" w="sm" len="sm"/>
            </a:ln>
          </p:spPr>
          <p:txBody>
            <a:bodyPr spcFirstLastPara="1" wrap="square" lIns="68569" tIns="68569" rIns="68569" bIns="68569" anchor="ctr" anchorCtr="0">
              <a:noAutofit/>
            </a:bodyPr>
            <a:lstStyle/>
            <a:p>
              <a:endParaRPr sz="1350" dirty="0">
                <a:solidFill>
                  <a:prstClr val="black"/>
                </a:solidFill>
                <a:latin typeface="Calibri" panose="020F0502020204030204"/>
              </a:endParaRPr>
            </a:p>
          </p:txBody>
        </p:sp>
        <p:sp>
          <p:nvSpPr>
            <p:cNvPr id="100" name="Google Shape;519;p37"/>
            <p:cNvSpPr/>
            <p:nvPr/>
          </p:nvSpPr>
          <p:spPr>
            <a:xfrm>
              <a:off x="5732228" y="5225588"/>
              <a:ext cx="548658" cy="384789"/>
            </a:xfrm>
            <a:custGeom>
              <a:avLst/>
              <a:gdLst/>
              <a:ahLst/>
              <a:cxnLst/>
              <a:rect l="l" t="t" r="r" b="b"/>
              <a:pathLst>
                <a:path w="18462" h="13445" fill="none" extrusionOk="0">
                  <a:moveTo>
                    <a:pt x="17974" y="1"/>
                  </a:moveTo>
                  <a:lnTo>
                    <a:pt x="487" y="1"/>
                  </a:lnTo>
                  <a:lnTo>
                    <a:pt x="487" y="1"/>
                  </a:lnTo>
                  <a:lnTo>
                    <a:pt x="390" y="1"/>
                  </a:lnTo>
                  <a:lnTo>
                    <a:pt x="317" y="50"/>
                  </a:lnTo>
                  <a:lnTo>
                    <a:pt x="220" y="74"/>
                  </a:lnTo>
                  <a:lnTo>
                    <a:pt x="146" y="147"/>
                  </a:lnTo>
                  <a:lnTo>
                    <a:pt x="98" y="220"/>
                  </a:lnTo>
                  <a:lnTo>
                    <a:pt x="49" y="293"/>
                  </a:lnTo>
                  <a:lnTo>
                    <a:pt x="25" y="390"/>
                  </a:lnTo>
                  <a:lnTo>
                    <a:pt x="0" y="488"/>
                  </a:lnTo>
                  <a:lnTo>
                    <a:pt x="0" y="12958"/>
                  </a:lnTo>
                  <a:lnTo>
                    <a:pt x="0" y="12958"/>
                  </a:lnTo>
                  <a:lnTo>
                    <a:pt x="25" y="13055"/>
                  </a:lnTo>
                  <a:lnTo>
                    <a:pt x="49" y="13152"/>
                  </a:lnTo>
                  <a:lnTo>
                    <a:pt x="98" y="13226"/>
                  </a:lnTo>
                  <a:lnTo>
                    <a:pt x="146" y="13299"/>
                  </a:lnTo>
                  <a:lnTo>
                    <a:pt x="220" y="13372"/>
                  </a:lnTo>
                  <a:lnTo>
                    <a:pt x="317" y="13396"/>
                  </a:lnTo>
                  <a:lnTo>
                    <a:pt x="390" y="13445"/>
                  </a:lnTo>
                  <a:lnTo>
                    <a:pt x="487" y="13445"/>
                  </a:lnTo>
                  <a:lnTo>
                    <a:pt x="17974" y="13445"/>
                  </a:lnTo>
                  <a:lnTo>
                    <a:pt x="17974" y="13445"/>
                  </a:lnTo>
                  <a:lnTo>
                    <a:pt x="18072" y="13445"/>
                  </a:lnTo>
                  <a:lnTo>
                    <a:pt x="18145" y="13396"/>
                  </a:lnTo>
                  <a:lnTo>
                    <a:pt x="18242" y="13372"/>
                  </a:lnTo>
                  <a:lnTo>
                    <a:pt x="18315" y="13299"/>
                  </a:lnTo>
                  <a:lnTo>
                    <a:pt x="18364" y="13226"/>
                  </a:lnTo>
                  <a:lnTo>
                    <a:pt x="18413" y="13152"/>
                  </a:lnTo>
                  <a:lnTo>
                    <a:pt x="18437" y="13055"/>
                  </a:lnTo>
                  <a:lnTo>
                    <a:pt x="18461" y="12958"/>
                  </a:lnTo>
                  <a:lnTo>
                    <a:pt x="18461" y="488"/>
                  </a:lnTo>
                  <a:lnTo>
                    <a:pt x="18461" y="488"/>
                  </a:lnTo>
                  <a:lnTo>
                    <a:pt x="18437" y="390"/>
                  </a:lnTo>
                  <a:lnTo>
                    <a:pt x="18413" y="293"/>
                  </a:lnTo>
                  <a:lnTo>
                    <a:pt x="18364" y="220"/>
                  </a:lnTo>
                  <a:lnTo>
                    <a:pt x="18315" y="147"/>
                  </a:lnTo>
                  <a:lnTo>
                    <a:pt x="18242" y="74"/>
                  </a:lnTo>
                  <a:lnTo>
                    <a:pt x="18145" y="50"/>
                  </a:lnTo>
                  <a:lnTo>
                    <a:pt x="18072" y="1"/>
                  </a:lnTo>
                  <a:lnTo>
                    <a:pt x="17974" y="1"/>
                  </a:lnTo>
                  <a:lnTo>
                    <a:pt x="17974" y="1"/>
                  </a:lnTo>
                  <a:close/>
                  <a:moveTo>
                    <a:pt x="17000" y="11983"/>
                  </a:moveTo>
                  <a:lnTo>
                    <a:pt x="1462" y="11983"/>
                  </a:lnTo>
                  <a:lnTo>
                    <a:pt x="1462" y="1462"/>
                  </a:lnTo>
                  <a:lnTo>
                    <a:pt x="17000" y="1462"/>
                  </a:lnTo>
                  <a:lnTo>
                    <a:pt x="17000" y="11983"/>
                  </a:lnTo>
                  <a:close/>
                </a:path>
              </a:pathLst>
            </a:custGeom>
            <a:grpFill/>
            <a:ln w="12175" cap="rnd" cmpd="sng">
              <a:solidFill>
                <a:srgbClr val="C3B69B"/>
              </a:solidFill>
              <a:prstDash val="solid"/>
              <a:round/>
              <a:headEnd type="none" w="sm" len="sm"/>
              <a:tailEnd type="none" w="sm" len="sm"/>
            </a:ln>
          </p:spPr>
          <p:txBody>
            <a:bodyPr spcFirstLastPara="1" wrap="square" lIns="68569" tIns="68569" rIns="68569" bIns="68569" anchor="ctr" anchorCtr="0">
              <a:noAutofit/>
            </a:bodyPr>
            <a:lstStyle/>
            <a:p>
              <a:endParaRPr sz="1350" dirty="0">
                <a:solidFill>
                  <a:prstClr val="black"/>
                </a:solidFill>
                <a:latin typeface="Calibri" panose="020F0502020204030204"/>
              </a:endParaRPr>
            </a:p>
          </p:txBody>
        </p:sp>
      </p:grpSp>
      <p:grpSp>
        <p:nvGrpSpPr>
          <p:cNvPr id="7" name="Group 6">
            <a:extLst>
              <a:ext uri="{FF2B5EF4-FFF2-40B4-BE49-F238E27FC236}">
                <a16:creationId xmlns:a16="http://schemas.microsoft.com/office/drawing/2014/main" id="{1DDCB9C0-4270-4F97-832D-DB90715331A4}"/>
              </a:ext>
            </a:extLst>
          </p:cNvPr>
          <p:cNvGrpSpPr/>
          <p:nvPr/>
        </p:nvGrpSpPr>
        <p:grpSpPr>
          <a:xfrm>
            <a:off x="8710600" y="2834536"/>
            <a:ext cx="473963" cy="485315"/>
            <a:chOff x="7114029" y="2805507"/>
            <a:chExt cx="473963" cy="485315"/>
          </a:xfrm>
          <a:solidFill>
            <a:schemeClr val="bg1"/>
          </a:solidFill>
        </p:grpSpPr>
        <p:sp>
          <p:nvSpPr>
            <p:cNvPr id="145" name="Oval 166">
              <a:extLst>
                <a:ext uri="{FF2B5EF4-FFF2-40B4-BE49-F238E27FC236}">
                  <a16:creationId xmlns:a16="http://schemas.microsoft.com/office/drawing/2014/main" id="{0BA9A28A-3E2F-417A-9564-4D87559CFC7D}"/>
                </a:ext>
              </a:extLst>
            </p:cNvPr>
            <p:cNvSpPr>
              <a:spLocks noChangeArrowheads="1"/>
            </p:cNvSpPr>
            <p:nvPr/>
          </p:nvSpPr>
          <p:spPr bwMode="auto">
            <a:xfrm>
              <a:off x="7114029" y="2805507"/>
              <a:ext cx="473963" cy="485315"/>
            </a:xfrm>
            <a:prstGeom prst="ellipse">
              <a:avLst/>
            </a:prstGeom>
            <a:grpFill/>
            <a:ln>
              <a:solidFill>
                <a:schemeClr val="tx2"/>
              </a:solidFill>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panose="020F0502020204030204"/>
              </a:endParaRPr>
            </a:p>
          </p:txBody>
        </p:sp>
        <p:grpSp>
          <p:nvGrpSpPr>
            <p:cNvPr id="126" name="Group 125">
              <a:extLst>
                <a:ext uri="{FF2B5EF4-FFF2-40B4-BE49-F238E27FC236}">
                  <a16:creationId xmlns:a16="http://schemas.microsoft.com/office/drawing/2014/main" id="{AC0E945B-B122-427B-BAAD-5102C5FA43A3}"/>
                </a:ext>
              </a:extLst>
            </p:cNvPr>
            <p:cNvGrpSpPr/>
            <p:nvPr/>
          </p:nvGrpSpPr>
          <p:grpSpPr>
            <a:xfrm>
              <a:off x="7158832" y="2882512"/>
              <a:ext cx="375193" cy="359910"/>
              <a:chOff x="9262969" y="3454809"/>
              <a:chExt cx="475560" cy="456189"/>
            </a:xfrm>
            <a:grpFill/>
          </p:grpSpPr>
          <p:sp>
            <p:nvSpPr>
              <p:cNvPr id="127" name="Google Shape;770;p37">
                <a:extLst>
                  <a:ext uri="{FF2B5EF4-FFF2-40B4-BE49-F238E27FC236}">
                    <a16:creationId xmlns:a16="http://schemas.microsoft.com/office/drawing/2014/main" id="{4BFCE42D-DF9C-4230-9D47-EFB741EB730F}"/>
                  </a:ext>
                </a:extLst>
              </p:cNvPr>
              <p:cNvSpPr/>
              <p:nvPr/>
            </p:nvSpPr>
            <p:spPr>
              <a:xfrm>
                <a:off x="9620164" y="3454809"/>
                <a:ext cx="79094" cy="79094"/>
              </a:xfrm>
              <a:custGeom>
                <a:avLst/>
                <a:gdLst/>
                <a:ahLst/>
                <a:cxnLst/>
                <a:rect l="l" t="t" r="r" b="b"/>
                <a:pathLst>
                  <a:path w="3581" h="3581" fill="none" extrusionOk="0">
                    <a:moveTo>
                      <a:pt x="1023" y="3410"/>
                    </a:moveTo>
                    <a:lnTo>
                      <a:pt x="1023" y="3410"/>
                    </a:lnTo>
                    <a:lnTo>
                      <a:pt x="1193" y="3483"/>
                    </a:lnTo>
                    <a:lnTo>
                      <a:pt x="1388" y="3532"/>
                    </a:lnTo>
                    <a:lnTo>
                      <a:pt x="1583" y="3556"/>
                    </a:lnTo>
                    <a:lnTo>
                      <a:pt x="1778" y="3581"/>
                    </a:lnTo>
                    <a:lnTo>
                      <a:pt x="1778" y="3581"/>
                    </a:lnTo>
                    <a:lnTo>
                      <a:pt x="1973" y="3556"/>
                    </a:lnTo>
                    <a:lnTo>
                      <a:pt x="2143" y="3532"/>
                    </a:lnTo>
                    <a:lnTo>
                      <a:pt x="2314" y="3508"/>
                    </a:lnTo>
                    <a:lnTo>
                      <a:pt x="2484" y="3435"/>
                    </a:lnTo>
                    <a:lnTo>
                      <a:pt x="2630" y="3361"/>
                    </a:lnTo>
                    <a:lnTo>
                      <a:pt x="2776" y="3264"/>
                    </a:lnTo>
                    <a:lnTo>
                      <a:pt x="2923" y="3167"/>
                    </a:lnTo>
                    <a:lnTo>
                      <a:pt x="3044" y="3045"/>
                    </a:lnTo>
                    <a:lnTo>
                      <a:pt x="3166" y="2923"/>
                    </a:lnTo>
                    <a:lnTo>
                      <a:pt x="3264" y="2801"/>
                    </a:lnTo>
                    <a:lnTo>
                      <a:pt x="3361" y="2631"/>
                    </a:lnTo>
                    <a:lnTo>
                      <a:pt x="3434" y="2485"/>
                    </a:lnTo>
                    <a:lnTo>
                      <a:pt x="3483" y="2314"/>
                    </a:lnTo>
                    <a:lnTo>
                      <a:pt x="3531" y="2144"/>
                    </a:lnTo>
                    <a:lnTo>
                      <a:pt x="3556" y="1973"/>
                    </a:lnTo>
                    <a:lnTo>
                      <a:pt x="3580" y="1803"/>
                    </a:lnTo>
                    <a:lnTo>
                      <a:pt x="3580" y="1803"/>
                    </a:lnTo>
                    <a:lnTo>
                      <a:pt x="3556" y="1608"/>
                    </a:lnTo>
                    <a:lnTo>
                      <a:pt x="3531" y="1437"/>
                    </a:lnTo>
                    <a:lnTo>
                      <a:pt x="3483" y="1267"/>
                    </a:lnTo>
                    <a:lnTo>
                      <a:pt x="3434" y="1096"/>
                    </a:lnTo>
                    <a:lnTo>
                      <a:pt x="3361" y="950"/>
                    </a:lnTo>
                    <a:lnTo>
                      <a:pt x="3264" y="804"/>
                    </a:lnTo>
                    <a:lnTo>
                      <a:pt x="3166" y="658"/>
                    </a:lnTo>
                    <a:lnTo>
                      <a:pt x="3044" y="536"/>
                    </a:lnTo>
                    <a:lnTo>
                      <a:pt x="2923" y="414"/>
                    </a:lnTo>
                    <a:lnTo>
                      <a:pt x="2776" y="317"/>
                    </a:lnTo>
                    <a:lnTo>
                      <a:pt x="2630" y="220"/>
                    </a:lnTo>
                    <a:lnTo>
                      <a:pt x="2484" y="147"/>
                    </a:lnTo>
                    <a:lnTo>
                      <a:pt x="2314" y="98"/>
                    </a:lnTo>
                    <a:lnTo>
                      <a:pt x="2143" y="49"/>
                    </a:lnTo>
                    <a:lnTo>
                      <a:pt x="1973" y="25"/>
                    </a:lnTo>
                    <a:lnTo>
                      <a:pt x="1778" y="0"/>
                    </a:lnTo>
                    <a:lnTo>
                      <a:pt x="1778" y="0"/>
                    </a:lnTo>
                    <a:lnTo>
                      <a:pt x="1607" y="25"/>
                    </a:lnTo>
                    <a:lnTo>
                      <a:pt x="1437" y="49"/>
                    </a:lnTo>
                    <a:lnTo>
                      <a:pt x="1266" y="98"/>
                    </a:lnTo>
                    <a:lnTo>
                      <a:pt x="1096" y="147"/>
                    </a:lnTo>
                    <a:lnTo>
                      <a:pt x="925" y="220"/>
                    </a:lnTo>
                    <a:lnTo>
                      <a:pt x="779" y="317"/>
                    </a:lnTo>
                    <a:lnTo>
                      <a:pt x="658" y="414"/>
                    </a:lnTo>
                    <a:lnTo>
                      <a:pt x="536" y="536"/>
                    </a:lnTo>
                    <a:lnTo>
                      <a:pt x="414" y="658"/>
                    </a:lnTo>
                    <a:lnTo>
                      <a:pt x="317" y="804"/>
                    </a:lnTo>
                    <a:lnTo>
                      <a:pt x="219" y="950"/>
                    </a:lnTo>
                    <a:lnTo>
                      <a:pt x="146" y="1096"/>
                    </a:lnTo>
                    <a:lnTo>
                      <a:pt x="73" y="1267"/>
                    </a:lnTo>
                    <a:lnTo>
                      <a:pt x="49" y="1437"/>
                    </a:lnTo>
                    <a:lnTo>
                      <a:pt x="24" y="1608"/>
                    </a:lnTo>
                    <a:lnTo>
                      <a:pt x="0" y="1803"/>
                    </a:lnTo>
                    <a:lnTo>
                      <a:pt x="0" y="1803"/>
                    </a:lnTo>
                    <a:lnTo>
                      <a:pt x="24" y="2071"/>
                    </a:lnTo>
                    <a:lnTo>
                      <a:pt x="97" y="2339"/>
                    </a:lnTo>
                    <a:lnTo>
                      <a:pt x="195" y="2582"/>
                    </a:lnTo>
                    <a:lnTo>
                      <a:pt x="317" y="2801"/>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28" name="Google Shape;771;p37">
                <a:extLst>
                  <a:ext uri="{FF2B5EF4-FFF2-40B4-BE49-F238E27FC236}">
                    <a16:creationId xmlns:a16="http://schemas.microsoft.com/office/drawing/2014/main" id="{D842A6B7-2AE7-4289-98F0-C77326705733}"/>
                  </a:ext>
                </a:extLst>
              </p:cNvPr>
              <p:cNvSpPr/>
              <p:nvPr/>
            </p:nvSpPr>
            <p:spPr>
              <a:xfrm>
                <a:off x="9342041" y="3477934"/>
                <a:ext cx="78564" cy="78564"/>
              </a:xfrm>
              <a:custGeom>
                <a:avLst/>
                <a:gdLst/>
                <a:ahLst/>
                <a:cxnLst/>
                <a:rect l="l" t="t" r="r" b="b"/>
                <a:pathLst>
                  <a:path w="3557" h="3557" fill="none" extrusionOk="0">
                    <a:moveTo>
                      <a:pt x="3191" y="2850"/>
                    </a:moveTo>
                    <a:lnTo>
                      <a:pt x="3191" y="2850"/>
                    </a:lnTo>
                    <a:lnTo>
                      <a:pt x="3313" y="2680"/>
                    </a:lnTo>
                    <a:lnTo>
                      <a:pt x="3410" y="2509"/>
                    </a:lnTo>
                    <a:lnTo>
                      <a:pt x="3483" y="2314"/>
                    </a:lnTo>
                    <a:lnTo>
                      <a:pt x="3532" y="2095"/>
                    </a:lnTo>
                    <a:lnTo>
                      <a:pt x="3532" y="2095"/>
                    </a:lnTo>
                    <a:lnTo>
                      <a:pt x="3556" y="1925"/>
                    </a:lnTo>
                    <a:lnTo>
                      <a:pt x="3556" y="1730"/>
                    </a:lnTo>
                    <a:lnTo>
                      <a:pt x="3556" y="1559"/>
                    </a:lnTo>
                    <a:lnTo>
                      <a:pt x="3508" y="1389"/>
                    </a:lnTo>
                    <a:lnTo>
                      <a:pt x="3459" y="1218"/>
                    </a:lnTo>
                    <a:lnTo>
                      <a:pt x="3410" y="1072"/>
                    </a:lnTo>
                    <a:lnTo>
                      <a:pt x="3337" y="902"/>
                    </a:lnTo>
                    <a:lnTo>
                      <a:pt x="3240" y="756"/>
                    </a:lnTo>
                    <a:lnTo>
                      <a:pt x="3142" y="634"/>
                    </a:lnTo>
                    <a:lnTo>
                      <a:pt x="3021" y="512"/>
                    </a:lnTo>
                    <a:lnTo>
                      <a:pt x="2899" y="390"/>
                    </a:lnTo>
                    <a:lnTo>
                      <a:pt x="2753" y="293"/>
                    </a:lnTo>
                    <a:lnTo>
                      <a:pt x="2606" y="196"/>
                    </a:lnTo>
                    <a:lnTo>
                      <a:pt x="2436" y="122"/>
                    </a:lnTo>
                    <a:lnTo>
                      <a:pt x="2266" y="74"/>
                    </a:lnTo>
                    <a:lnTo>
                      <a:pt x="2095" y="25"/>
                    </a:lnTo>
                    <a:lnTo>
                      <a:pt x="2095" y="25"/>
                    </a:lnTo>
                    <a:lnTo>
                      <a:pt x="1925" y="1"/>
                    </a:lnTo>
                    <a:lnTo>
                      <a:pt x="1730" y="1"/>
                    </a:lnTo>
                    <a:lnTo>
                      <a:pt x="1559" y="1"/>
                    </a:lnTo>
                    <a:lnTo>
                      <a:pt x="1389" y="25"/>
                    </a:lnTo>
                    <a:lnTo>
                      <a:pt x="1218" y="74"/>
                    </a:lnTo>
                    <a:lnTo>
                      <a:pt x="1072" y="147"/>
                    </a:lnTo>
                    <a:lnTo>
                      <a:pt x="902" y="220"/>
                    </a:lnTo>
                    <a:lnTo>
                      <a:pt x="756" y="317"/>
                    </a:lnTo>
                    <a:lnTo>
                      <a:pt x="634" y="415"/>
                    </a:lnTo>
                    <a:lnTo>
                      <a:pt x="512" y="537"/>
                    </a:lnTo>
                    <a:lnTo>
                      <a:pt x="390" y="658"/>
                    </a:lnTo>
                    <a:lnTo>
                      <a:pt x="293" y="804"/>
                    </a:lnTo>
                    <a:lnTo>
                      <a:pt x="195" y="951"/>
                    </a:lnTo>
                    <a:lnTo>
                      <a:pt x="122" y="1097"/>
                    </a:lnTo>
                    <a:lnTo>
                      <a:pt x="74" y="1267"/>
                    </a:lnTo>
                    <a:lnTo>
                      <a:pt x="25" y="1462"/>
                    </a:lnTo>
                    <a:lnTo>
                      <a:pt x="25" y="1462"/>
                    </a:lnTo>
                    <a:lnTo>
                      <a:pt x="1" y="1633"/>
                    </a:lnTo>
                    <a:lnTo>
                      <a:pt x="1" y="1803"/>
                    </a:lnTo>
                    <a:lnTo>
                      <a:pt x="1" y="1998"/>
                    </a:lnTo>
                    <a:lnTo>
                      <a:pt x="25" y="2168"/>
                    </a:lnTo>
                    <a:lnTo>
                      <a:pt x="74" y="2339"/>
                    </a:lnTo>
                    <a:lnTo>
                      <a:pt x="147" y="2485"/>
                    </a:lnTo>
                    <a:lnTo>
                      <a:pt x="220" y="2655"/>
                    </a:lnTo>
                    <a:lnTo>
                      <a:pt x="317" y="2777"/>
                    </a:lnTo>
                    <a:lnTo>
                      <a:pt x="415" y="2923"/>
                    </a:lnTo>
                    <a:lnTo>
                      <a:pt x="536" y="3045"/>
                    </a:lnTo>
                    <a:lnTo>
                      <a:pt x="658" y="3167"/>
                    </a:lnTo>
                    <a:lnTo>
                      <a:pt x="804" y="3264"/>
                    </a:lnTo>
                    <a:lnTo>
                      <a:pt x="950" y="3362"/>
                    </a:lnTo>
                    <a:lnTo>
                      <a:pt x="1096" y="3435"/>
                    </a:lnTo>
                    <a:lnTo>
                      <a:pt x="1267" y="3483"/>
                    </a:lnTo>
                    <a:lnTo>
                      <a:pt x="1462" y="3532"/>
                    </a:lnTo>
                    <a:lnTo>
                      <a:pt x="1462" y="3532"/>
                    </a:lnTo>
                    <a:lnTo>
                      <a:pt x="1705" y="3557"/>
                    </a:lnTo>
                    <a:lnTo>
                      <a:pt x="1973" y="3557"/>
                    </a:lnTo>
                    <a:lnTo>
                      <a:pt x="2217" y="3508"/>
                    </a:lnTo>
                    <a:lnTo>
                      <a:pt x="2460" y="3435"/>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29" name="Google Shape;772;p37">
                <a:extLst>
                  <a:ext uri="{FF2B5EF4-FFF2-40B4-BE49-F238E27FC236}">
                    <a16:creationId xmlns:a16="http://schemas.microsoft.com/office/drawing/2014/main" id="{B3549246-99FC-4683-8D43-B72E907CC987}"/>
                  </a:ext>
                </a:extLst>
              </p:cNvPr>
              <p:cNvSpPr/>
              <p:nvPr/>
            </p:nvSpPr>
            <p:spPr>
              <a:xfrm>
                <a:off x="9262969" y="3720540"/>
                <a:ext cx="79094" cy="79094"/>
              </a:xfrm>
              <a:custGeom>
                <a:avLst/>
                <a:gdLst/>
                <a:ahLst/>
                <a:cxnLst/>
                <a:rect l="l" t="t" r="r" b="b"/>
                <a:pathLst>
                  <a:path w="3581" h="3581" fill="none" extrusionOk="0">
                    <a:moveTo>
                      <a:pt x="3215" y="707"/>
                    </a:moveTo>
                    <a:lnTo>
                      <a:pt x="3215" y="707"/>
                    </a:lnTo>
                    <a:lnTo>
                      <a:pt x="3093" y="585"/>
                    </a:lnTo>
                    <a:lnTo>
                      <a:pt x="2972" y="464"/>
                    </a:lnTo>
                    <a:lnTo>
                      <a:pt x="2850" y="342"/>
                    </a:lnTo>
                    <a:lnTo>
                      <a:pt x="2679" y="244"/>
                    </a:lnTo>
                    <a:lnTo>
                      <a:pt x="2679" y="244"/>
                    </a:lnTo>
                    <a:lnTo>
                      <a:pt x="2533" y="171"/>
                    </a:lnTo>
                    <a:lnTo>
                      <a:pt x="2363" y="98"/>
                    </a:lnTo>
                    <a:lnTo>
                      <a:pt x="2192" y="50"/>
                    </a:lnTo>
                    <a:lnTo>
                      <a:pt x="2022" y="25"/>
                    </a:lnTo>
                    <a:lnTo>
                      <a:pt x="1851" y="1"/>
                    </a:lnTo>
                    <a:lnTo>
                      <a:pt x="1681" y="25"/>
                    </a:lnTo>
                    <a:lnTo>
                      <a:pt x="1510" y="25"/>
                    </a:lnTo>
                    <a:lnTo>
                      <a:pt x="1340" y="74"/>
                    </a:lnTo>
                    <a:lnTo>
                      <a:pt x="1169" y="123"/>
                    </a:lnTo>
                    <a:lnTo>
                      <a:pt x="1023" y="196"/>
                    </a:lnTo>
                    <a:lnTo>
                      <a:pt x="877" y="269"/>
                    </a:lnTo>
                    <a:lnTo>
                      <a:pt x="731" y="366"/>
                    </a:lnTo>
                    <a:lnTo>
                      <a:pt x="585" y="488"/>
                    </a:lnTo>
                    <a:lnTo>
                      <a:pt x="463" y="610"/>
                    </a:lnTo>
                    <a:lnTo>
                      <a:pt x="341" y="731"/>
                    </a:lnTo>
                    <a:lnTo>
                      <a:pt x="244" y="902"/>
                    </a:lnTo>
                    <a:lnTo>
                      <a:pt x="244" y="902"/>
                    </a:lnTo>
                    <a:lnTo>
                      <a:pt x="171" y="1048"/>
                    </a:lnTo>
                    <a:lnTo>
                      <a:pt x="98" y="1219"/>
                    </a:lnTo>
                    <a:lnTo>
                      <a:pt x="49" y="1389"/>
                    </a:lnTo>
                    <a:lnTo>
                      <a:pt x="25" y="1560"/>
                    </a:lnTo>
                    <a:lnTo>
                      <a:pt x="0" y="1730"/>
                    </a:lnTo>
                    <a:lnTo>
                      <a:pt x="0" y="1900"/>
                    </a:lnTo>
                    <a:lnTo>
                      <a:pt x="25" y="2071"/>
                    </a:lnTo>
                    <a:lnTo>
                      <a:pt x="73" y="2241"/>
                    </a:lnTo>
                    <a:lnTo>
                      <a:pt x="122" y="2412"/>
                    </a:lnTo>
                    <a:lnTo>
                      <a:pt x="195" y="2558"/>
                    </a:lnTo>
                    <a:lnTo>
                      <a:pt x="268" y="2729"/>
                    </a:lnTo>
                    <a:lnTo>
                      <a:pt x="366" y="2850"/>
                    </a:lnTo>
                    <a:lnTo>
                      <a:pt x="463" y="2996"/>
                    </a:lnTo>
                    <a:lnTo>
                      <a:pt x="609" y="3118"/>
                    </a:lnTo>
                    <a:lnTo>
                      <a:pt x="731" y="3240"/>
                    </a:lnTo>
                    <a:lnTo>
                      <a:pt x="901" y="3337"/>
                    </a:lnTo>
                    <a:lnTo>
                      <a:pt x="901" y="3337"/>
                    </a:lnTo>
                    <a:lnTo>
                      <a:pt x="1048" y="3410"/>
                    </a:lnTo>
                    <a:lnTo>
                      <a:pt x="1218" y="3484"/>
                    </a:lnTo>
                    <a:lnTo>
                      <a:pt x="1389" y="3532"/>
                    </a:lnTo>
                    <a:lnTo>
                      <a:pt x="1559" y="3557"/>
                    </a:lnTo>
                    <a:lnTo>
                      <a:pt x="1730" y="3581"/>
                    </a:lnTo>
                    <a:lnTo>
                      <a:pt x="1900" y="3581"/>
                    </a:lnTo>
                    <a:lnTo>
                      <a:pt x="2071" y="3557"/>
                    </a:lnTo>
                    <a:lnTo>
                      <a:pt x="2241" y="3508"/>
                    </a:lnTo>
                    <a:lnTo>
                      <a:pt x="2411" y="3459"/>
                    </a:lnTo>
                    <a:lnTo>
                      <a:pt x="2558" y="3410"/>
                    </a:lnTo>
                    <a:lnTo>
                      <a:pt x="2704" y="3313"/>
                    </a:lnTo>
                    <a:lnTo>
                      <a:pt x="2850" y="3216"/>
                    </a:lnTo>
                    <a:lnTo>
                      <a:pt x="2996" y="3118"/>
                    </a:lnTo>
                    <a:lnTo>
                      <a:pt x="3118" y="2996"/>
                    </a:lnTo>
                    <a:lnTo>
                      <a:pt x="3240" y="2850"/>
                    </a:lnTo>
                    <a:lnTo>
                      <a:pt x="3337" y="2704"/>
                    </a:lnTo>
                    <a:lnTo>
                      <a:pt x="3337" y="2704"/>
                    </a:lnTo>
                    <a:lnTo>
                      <a:pt x="3459" y="2412"/>
                    </a:lnTo>
                    <a:lnTo>
                      <a:pt x="3532" y="2144"/>
                    </a:lnTo>
                    <a:lnTo>
                      <a:pt x="3581" y="1852"/>
                    </a:lnTo>
                    <a:lnTo>
                      <a:pt x="3556" y="1560"/>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30" name="Google Shape;773;p37">
                <a:extLst>
                  <a:ext uri="{FF2B5EF4-FFF2-40B4-BE49-F238E27FC236}">
                    <a16:creationId xmlns:a16="http://schemas.microsoft.com/office/drawing/2014/main" id="{E2F2ABC4-0395-450F-A900-B381A23C9005}"/>
                  </a:ext>
                </a:extLst>
              </p:cNvPr>
              <p:cNvSpPr/>
              <p:nvPr/>
            </p:nvSpPr>
            <p:spPr>
              <a:xfrm>
                <a:off x="9457160" y="3832964"/>
                <a:ext cx="78564" cy="78034"/>
              </a:xfrm>
              <a:custGeom>
                <a:avLst/>
                <a:gdLst/>
                <a:ahLst/>
                <a:cxnLst/>
                <a:rect l="l" t="t" r="r" b="b"/>
                <a:pathLst>
                  <a:path w="3557" h="3533" fill="none" extrusionOk="0">
                    <a:moveTo>
                      <a:pt x="1389" y="1"/>
                    </a:moveTo>
                    <a:lnTo>
                      <a:pt x="1389" y="1"/>
                    </a:lnTo>
                    <a:lnTo>
                      <a:pt x="1194" y="50"/>
                    </a:lnTo>
                    <a:lnTo>
                      <a:pt x="999" y="147"/>
                    </a:lnTo>
                    <a:lnTo>
                      <a:pt x="804" y="245"/>
                    </a:lnTo>
                    <a:lnTo>
                      <a:pt x="634" y="366"/>
                    </a:lnTo>
                    <a:lnTo>
                      <a:pt x="634" y="366"/>
                    </a:lnTo>
                    <a:lnTo>
                      <a:pt x="488" y="488"/>
                    </a:lnTo>
                    <a:lnTo>
                      <a:pt x="390" y="634"/>
                    </a:lnTo>
                    <a:lnTo>
                      <a:pt x="268" y="780"/>
                    </a:lnTo>
                    <a:lnTo>
                      <a:pt x="195" y="926"/>
                    </a:lnTo>
                    <a:lnTo>
                      <a:pt x="122" y="1073"/>
                    </a:lnTo>
                    <a:lnTo>
                      <a:pt x="74" y="1243"/>
                    </a:lnTo>
                    <a:lnTo>
                      <a:pt x="25" y="1414"/>
                    </a:lnTo>
                    <a:lnTo>
                      <a:pt x="0" y="1584"/>
                    </a:lnTo>
                    <a:lnTo>
                      <a:pt x="0" y="1755"/>
                    </a:lnTo>
                    <a:lnTo>
                      <a:pt x="0" y="1925"/>
                    </a:lnTo>
                    <a:lnTo>
                      <a:pt x="25" y="2096"/>
                    </a:lnTo>
                    <a:lnTo>
                      <a:pt x="74" y="2266"/>
                    </a:lnTo>
                    <a:lnTo>
                      <a:pt x="122" y="2412"/>
                    </a:lnTo>
                    <a:lnTo>
                      <a:pt x="195" y="2583"/>
                    </a:lnTo>
                    <a:lnTo>
                      <a:pt x="293" y="2729"/>
                    </a:lnTo>
                    <a:lnTo>
                      <a:pt x="415" y="2875"/>
                    </a:lnTo>
                    <a:lnTo>
                      <a:pt x="415" y="2875"/>
                    </a:lnTo>
                    <a:lnTo>
                      <a:pt x="536" y="3021"/>
                    </a:lnTo>
                    <a:lnTo>
                      <a:pt x="658" y="3143"/>
                    </a:lnTo>
                    <a:lnTo>
                      <a:pt x="804" y="3240"/>
                    </a:lnTo>
                    <a:lnTo>
                      <a:pt x="950" y="3313"/>
                    </a:lnTo>
                    <a:lnTo>
                      <a:pt x="1121" y="3386"/>
                    </a:lnTo>
                    <a:lnTo>
                      <a:pt x="1267" y="3459"/>
                    </a:lnTo>
                    <a:lnTo>
                      <a:pt x="1437" y="3484"/>
                    </a:lnTo>
                    <a:lnTo>
                      <a:pt x="1608" y="3508"/>
                    </a:lnTo>
                    <a:lnTo>
                      <a:pt x="1778" y="3532"/>
                    </a:lnTo>
                    <a:lnTo>
                      <a:pt x="1949" y="3508"/>
                    </a:lnTo>
                    <a:lnTo>
                      <a:pt x="2119" y="3484"/>
                    </a:lnTo>
                    <a:lnTo>
                      <a:pt x="2290" y="3435"/>
                    </a:lnTo>
                    <a:lnTo>
                      <a:pt x="2460" y="3386"/>
                    </a:lnTo>
                    <a:lnTo>
                      <a:pt x="2606" y="3313"/>
                    </a:lnTo>
                    <a:lnTo>
                      <a:pt x="2777" y="3216"/>
                    </a:lnTo>
                    <a:lnTo>
                      <a:pt x="2923" y="3118"/>
                    </a:lnTo>
                    <a:lnTo>
                      <a:pt x="2923" y="3118"/>
                    </a:lnTo>
                    <a:lnTo>
                      <a:pt x="3045" y="2997"/>
                    </a:lnTo>
                    <a:lnTo>
                      <a:pt x="3167" y="2851"/>
                    </a:lnTo>
                    <a:lnTo>
                      <a:pt x="3264" y="2704"/>
                    </a:lnTo>
                    <a:lnTo>
                      <a:pt x="3361" y="2558"/>
                    </a:lnTo>
                    <a:lnTo>
                      <a:pt x="3435" y="2412"/>
                    </a:lnTo>
                    <a:lnTo>
                      <a:pt x="3483" y="2242"/>
                    </a:lnTo>
                    <a:lnTo>
                      <a:pt x="3532" y="2071"/>
                    </a:lnTo>
                    <a:lnTo>
                      <a:pt x="3556" y="1901"/>
                    </a:lnTo>
                    <a:lnTo>
                      <a:pt x="3556" y="1730"/>
                    </a:lnTo>
                    <a:lnTo>
                      <a:pt x="3556" y="1560"/>
                    </a:lnTo>
                    <a:lnTo>
                      <a:pt x="3532" y="1389"/>
                    </a:lnTo>
                    <a:lnTo>
                      <a:pt x="3483" y="1219"/>
                    </a:lnTo>
                    <a:lnTo>
                      <a:pt x="3410" y="1048"/>
                    </a:lnTo>
                    <a:lnTo>
                      <a:pt x="3337" y="902"/>
                    </a:lnTo>
                    <a:lnTo>
                      <a:pt x="3264" y="756"/>
                    </a:lnTo>
                    <a:lnTo>
                      <a:pt x="3142" y="610"/>
                    </a:lnTo>
                    <a:lnTo>
                      <a:pt x="3142" y="610"/>
                    </a:lnTo>
                    <a:lnTo>
                      <a:pt x="2972" y="415"/>
                    </a:lnTo>
                    <a:lnTo>
                      <a:pt x="2753" y="245"/>
                    </a:lnTo>
                    <a:lnTo>
                      <a:pt x="2533" y="123"/>
                    </a:lnTo>
                    <a:lnTo>
                      <a:pt x="2314" y="50"/>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31" name="Google Shape;774;p37">
                <a:extLst>
                  <a:ext uri="{FF2B5EF4-FFF2-40B4-BE49-F238E27FC236}">
                    <a16:creationId xmlns:a16="http://schemas.microsoft.com/office/drawing/2014/main" id="{3C7EBFD3-8ED3-4AF8-9BF1-C73CA7F7AF56}"/>
                  </a:ext>
                </a:extLst>
              </p:cNvPr>
              <p:cNvSpPr/>
              <p:nvPr/>
            </p:nvSpPr>
            <p:spPr>
              <a:xfrm>
                <a:off x="9659965" y="3661921"/>
                <a:ext cx="78564" cy="79094"/>
              </a:xfrm>
              <a:custGeom>
                <a:avLst/>
                <a:gdLst/>
                <a:ahLst/>
                <a:cxnLst/>
                <a:rect l="l" t="t" r="r" b="b"/>
                <a:pathLst>
                  <a:path w="3557" h="3581" fill="none" extrusionOk="0">
                    <a:moveTo>
                      <a:pt x="0" y="2022"/>
                    </a:moveTo>
                    <a:lnTo>
                      <a:pt x="0" y="2022"/>
                    </a:lnTo>
                    <a:lnTo>
                      <a:pt x="25" y="2216"/>
                    </a:lnTo>
                    <a:lnTo>
                      <a:pt x="98" y="2411"/>
                    </a:lnTo>
                    <a:lnTo>
                      <a:pt x="98" y="2411"/>
                    </a:lnTo>
                    <a:lnTo>
                      <a:pt x="171" y="2557"/>
                    </a:lnTo>
                    <a:lnTo>
                      <a:pt x="244" y="2728"/>
                    </a:lnTo>
                    <a:lnTo>
                      <a:pt x="341" y="2874"/>
                    </a:lnTo>
                    <a:lnTo>
                      <a:pt x="463" y="2996"/>
                    </a:lnTo>
                    <a:lnTo>
                      <a:pt x="585" y="3118"/>
                    </a:lnTo>
                    <a:lnTo>
                      <a:pt x="707" y="3239"/>
                    </a:lnTo>
                    <a:lnTo>
                      <a:pt x="853" y="3337"/>
                    </a:lnTo>
                    <a:lnTo>
                      <a:pt x="999" y="3410"/>
                    </a:lnTo>
                    <a:lnTo>
                      <a:pt x="1169" y="3483"/>
                    </a:lnTo>
                    <a:lnTo>
                      <a:pt x="1340" y="3532"/>
                    </a:lnTo>
                    <a:lnTo>
                      <a:pt x="1510" y="3556"/>
                    </a:lnTo>
                    <a:lnTo>
                      <a:pt x="1681" y="3580"/>
                    </a:lnTo>
                    <a:lnTo>
                      <a:pt x="1851" y="3580"/>
                    </a:lnTo>
                    <a:lnTo>
                      <a:pt x="2022" y="3556"/>
                    </a:lnTo>
                    <a:lnTo>
                      <a:pt x="2192" y="3532"/>
                    </a:lnTo>
                    <a:lnTo>
                      <a:pt x="2363" y="3459"/>
                    </a:lnTo>
                    <a:lnTo>
                      <a:pt x="2363" y="3459"/>
                    </a:lnTo>
                    <a:lnTo>
                      <a:pt x="2533" y="3410"/>
                    </a:lnTo>
                    <a:lnTo>
                      <a:pt x="2704" y="3312"/>
                    </a:lnTo>
                    <a:lnTo>
                      <a:pt x="2850" y="3215"/>
                    </a:lnTo>
                    <a:lnTo>
                      <a:pt x="2972" y="3093"/>
                    </a:lnTo>
                    <a:lnTo>
                      <a:pt x="3093" y="2971"/>
                    </a:lnTo>
                    <a:lnTo>
                      <a:pt x="3215" y="2850"/>
                    </a:lnTo>
                    <a:lnTo>
                      <a:pt x="3288" y="2704"/>
                    </a:lnTo>
                    <a:lnTo>
                      <a:pt x="3386" y="2557"/>
                    </a:lnTo>
                    <a:lnTo>
                      <a:pt x="3434" y="2387"/>
                    </a:lnTo>
                    <a:lnTo>
                      <a:pt x="3483" y="2216"/>
                    </a:lnTo>
                    <a:lnTo>
                      <a:pt x="3532" y="2070"/>
                    </a:lnTo>
                    <a:lnTo>
                      <a:pt x="3556" y="1875"/>
                    </a:lnTo>
                    <a:lnTo>
                      <a:pt x="3556" y="1705"/>
                    </a:lnTo>
                    <a:lnTo>
                      <a:pt x="3532" y="1534"/>
                    </a:lnTo>
                    <a:lnTo>
                      <a:pt x="3507" y="1364"/>
                    </a:lnTo>
                    <a:lnTo>
                      <a:pt x="3434" y="1194"/>
                    </a:lnTo>
                    <a:lnTo>
                      <a:pt x="3434" y="1194"/>
                    </a:lnTo>
                    <a:lnTo>
                      <a:pt x="3361" y="1023"/>
                    </a:lnTo>
                    <a:lnTo>
                      <a:pt x="3288" y="853"/>
                    </a:lnTo>
                    <a:lnTo>
                      <a:pt x="3191" y="706"/>
                    </a:lnTo>
                    <a:lnTo>
                      <a:pt x="3069" y="585"/>
                    </a:lnTo>
                    <a:lnTo>
                      <a:pt x="2947" y="463"/>
                    </a:lnTo>
                    <a:lnTo>
                      <a:pt x="2825" y="341"/>
                    </a:lnTo>
                    <a:lnTo>
                      <a:pt x="2679" y="268"/>
                    </a:lnTo>
                    <a:lnTo>
                      <a:pt x="2533" y="171"/>
                    </a:lnTo>
                    <a:lnTo>
                      <a:pt x="2363" y="122"/>
                    </a:lnTo>
                    <a:lnTo>
                      <a:pt x="2192" y="73"/>
                    </a:lnTo>
                    <a:lnTo>
                      <a:pt x="2022" y="24"/>
                    </a:lnTo>
                    <a:lnTo>
                      <a:pt x="1851" y="24"/>
                    </a:lnTo>
                    <a:lnTo>
                      <a:pt x="1681" y="0"/>
                    </a:lnTo>
                    <a:lnTo>
                      <a:pt x="1510" y="24"/>
                    </a:lnTo>
                    <a:lnTo>
                      <a:pt x="1340" y="73"/>
                    </a:lnTo>
                    <a:lnTo>
                      <a:pt x="1169" y="122"/>
                    </a:lnTo>
                    <a:lnTo>
                      <a:pt x="1169" y="122"/>
                    </a:lnTo>
                    <a:lnTo>
                      <a:pt x="974" y="195"/>
                    </a:lnTo>
                    <a:lnTo>
                      <a:pt x="804" y="292"/>
                    </a:lnTo>
                    <a:lnTo>
                      <a:pt x="658" y="390"/>
                    </a:lnTo>
                    <a:lnTo>
                      <a:pt x="512" y="512"/>
                    </a:lnTo>
                    <a:lnTo>
                      <a:pt x="390" y="658"/>
                    </a:lnTo>
                    <a:lnTo>
                      <a:pt x="293" y="804"/>
                    </a:lnTo>
                    <a:lnTo>
                      <a:pt x="195" y="950"/>
                    </a:lnTo>
                    <a:lnTo>
                      <a:pt x="122" y="1120"/>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32" name="Google Shape;775;p37">
                <a:extLst>
                  <a:ext uri="{FF2B5EF4-FFF2-40B4-BE49-F238E27FC236}">
                    <a16:creationId xmlns:a16="http://schemas.microsoft.com/office/drawing/2014/main" id="{157285F4-885E-41C8-AF3C-179C213C8878}"/>
                  </a:ext>
                </a:extLst>
              </p:cNvPr>
              <p:cNvSpPr/>
              <p:nvPr/>
            </p:nvSpPr>
            <p:spPr>
              <a:xfrm>
                <a:off x="9420583" y="3593053"/>
                <a:ext cx="166781" cy="167333"/>
              </a:xfrm>
              <a:custGeom>
                <a:avLst/>
                <a:gdLst/>
                <a:ahLst/>
                <a:cxnLst/>
                <a:rect l="l" t="t" r="r" b="b"/>
                <a:pathLst>
                  <a:path w="7551" h="7576" fill="none" extrusionOk="0">
                    <a:moveTo>
                      <a:pt x="0" y="3776"/>
                    </a:moveTo>
                    <a:lnTo>
                      <a:pt x="0" y="3776"/>
                    </a:lnTo>
                    <a:lnTo>
                      <a:pt x="25" y="3410"/>
                    </a:lnTo>
                    <a:lnTo>
                      <a:pt x="73" y="3021"/>
                    </a:lnTo>
                    <a:lnTo>
                      <a:pt x="171" y="2655"/>
                    </a:lnTo>
                    <a:lnTo>
                      <a:pt x="293" y="2314"/>
                    </a:lnTo>
                    <a:lnTo>
                      <a:pt x="463" y="1973"/>
                    </a:lnTo>
                    <a:lnTo>
                      <a:pt x="658" y="1681"/>
                    </a:lnTo>
                    <a:lnTo>
                      <a:pt x="877" y="1389"/>
                    </a:lnTo>
                    <a:lnTo>
                      <a:pt x="1121" y="1121"/>
                    </a:lnTo>
                    <a:lnTo>
                      <a:pt x="1389" y="877"/>
                    </a:lnTo>
                    <a:lnTo>
                      <a:pt x="1656" y="658"/>
                    </a:lnTo>
                    <a:lnTo>
                      <a:pt x="1973" y="463"/>
                    </a:lnTo>
                    <a:lnTo>
                      <a:pt x="2314" y="293"/>
                    </a:lnTo>
                    <a:lnTo>
                      <a:pt x="2655" y="171"/>
                    </a:lnTo>
                    <a:lnTo>
                      <a:pt x="3020" y="74"/>
                    </a:lnTo>
                    <a:lnTo>
                      <a:pt x="3386" y="25"/>
                    </a:lnTo>
                    <a:lnTo>
                      <a:pt x="3775" y="1"/>
                    </a:lnTo>
                    <a:lnTo>
                      <a:pt x="3775" y="1"/>
                    </a:lnTo>
                    <a:lnTo>
                      <a:pt x="4165" y="25"/>
                    </a:lnTo>
                    <a:lnTo>
                      <a:pt x="4555" y="74"/>
                    </a:lnTo>
                    <a:lnTo>
                      <a:pt x="4896" y="171"/>
                    </a:lnTo>
                    <a:lnTo>
                      <a:pt x="5261" y="293"/>
                    </a:lnTo>
                    <a:lnTo>
                      <a:pt x="5578" y="463"/>
                    </a:lnTo>
                    <a:lnTo>
                      <a:pt x="5894" y="658"/>
                    </a:lnTo>
                    <a:lnTo>
                      <a:pt x="6186" y="877"/>
                    </a:lnTo>
                    <a:lnTo>
                      <a:pt x="6454" y="1121"/>
                    </a:lnTo>
                    <a:lnTo>
                      <a:pt x="6698" y="1389"/>
                    </a:lnTo>
                    <a:lnTo>
                      <a:pt x="6917" y="1681"/>
                    </a:lnTo>
                    <a:lnTo>
                      <a:pt x="7112" y="1973"/>
                    </a:lnTo>
                    <a:lnTo>
                      <a:pt x="7258" y="2314"/>
                    </a:lnTo>
                    <a:lnTo>
                      <a:pt x="7404" y="2655"/>
                    </a:lnTo>
                    <a:lnTo>
                      <a:pt x="7477" y="3021"/>
                    </a:lnTo>
                    <a:lnTo>
                      <a:pt x="7550" y="3410"/>
                    </a:lnTo>
                    <a:lnTo>
                      <a:pt x="7550" y="3776"/>
                    </a:lnTo>
                    <a:lnTo>
                      <a:pt x="7550" y="3776"/>
                    </a:lnTo>
                    <a:lnTo>
                      <a:pt x="7550" y="4165"/>
                    </a:lnTo>
                    <a:lnTo>
                      <a:pt x="7477" y="4555"/>
                    </a:lnTo>
                    <a:lnTo>
                      <a:pt x="7404" y="4920"/>
                    </a:lnTo>
                    <a:lnTo>
                      <a:pt x="7258" y="5261"/>
                    </a:lnTo>
                    <a:lnTo>
                      <a:pt x="7112" y="5578"/>
                    </a:lnTo>
                    <a:lnTo>
                      <a:pt x="6917" y="5895"/>
                    </a:lnTo>
                    <a:lnTo>
                      <a:pt x="6698" y="6187"/>
                    </a:lnTo>
                    <a:lnTo>
                      <a:pt x="6454" y="6455"/>
                    </a:lnTo>
                    <a:lnTo>
                      <a:pt x="6186" y="6698"/>
                    </a:lnTo>
                    <a:lnTo>
                      <a:pt x="5894" y="6917"/>
                    </a:lnTo>
                    <a:lnTo>
                      <a:pt x="5578" y="7112"/>
                    </a:lnTo>
                    <a:lnTo>
                      <a:pt x="5261" y="7258"/>
                    </a:lnTo>
                    <a:lnTo>
                      <a:pt x="4896" y="7405"/>
                    </a:lnTo>
                    <a:lnTo>
                      <a:pt x="4555" y="7478"/>
                    </a:lnTo>
                    <a:lnTo>
                      <a:pt x="4165" y="7551"/>
                    </a:lnTo>
                    <a:lnTo>
                      <a:pt x="3775" y="7575"/>
                    </a:lnTo>
                    <a:lnTo>
                      <a:pt x="3775" y="7575"/>
                    </a:lnTo>
                    <a:lnTo>
                      <a:pt x="3386" y="7551"/>
                    </a:lnTo>
                    <a:lnTo>
                      <a:pt x="3020" y="7478"/>
                    </a:lnTo>
                    <a:lnTo>
                      <a:pt x="2655" y="7405"/>
                    </a:lnTo>
                    <a:lnTo>
                      <a:pt x="2314" y="7258"/>
                    </a:lnTo>
                    <a:lnTo>
                      <a:pt x="1973" y="7112"/>
                    </a:lnTo>
                    <a:lnTo>
                      <a:pt x="1656" y="6917"/>
                    </a:lnTo>
                    <a:lnTo>
                      <a:pt x="1389" y="6698"/>
                    </a:lnTo>
                    <a:lnTo>
                      <a:pt x="1121" y="6455"/>
                    </a:lnTo>
                    <a:lnTo>
                      <a:pt x="877" y="6187"/>
                    </a:lnTo>
                    <a:lnTo>
                      <a:pt x="658" y="5895"/>
                    </a:lnTo>
                    <a:lnTo>
                      <a:pt x="463" y="5578"/>
                    </a:lnTo>
                    <a:lnTo>
                      <a:pt x="293" y="5261"/>
                    </a:lnTo>
                    <a:lnTo>
                      <a:pt x="171" y="4920"/>
                    </a:lnTo>
                    <a:lnTo>
                      <a:pt x="73" y="4555"/>
                    </a:lnTo>
                    <a:lnTo>
                      <a:pt x="25" y="4165"/>
                    </a:lnTo>
                    <a:lnTo>
                      <a:pt x="0" y="3776"/>
                    </a:lnTo>
                    <a:lnTo>
                      <a:pt x="0" y="3776"/>
                    </a:lnTo>
                    <a:close/>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33" name="Google Shape;776;p37">
                <a:extLst>
                  <a:ext uri="{FF2B5EF4-FFF2-40B4-BE49-F238E27FC236}">
                    <a16:creationId xmlns:a16="http://schemas.microsoft.com/office/drawing/2014/main" id="{19FA93AC-C7A3-43A3-8145-A01E0070272C}"/>
                  </a:ext>
                </a:extLst>
              </p:cNvPr>
              <p:cNvSpPr/>
              <p:nvPr/>
            </p:nvSpPr>
            <p:spPr>
              <a:xfrm>
                <a:off x="9381312" y="3517205"/>
                <a:ext cx="72093" cy="93628"/>
              </a:xfrm>
              <a:custGeom>
                <a:avLst/>
                <a:gdLst/>
                <a:ahLst/>
                <a:cxnLst/>
                <a:rect l="l" t="t" r="r" b="b"/>
                <a:pathLst>
                  <a:path w="3264" h="4239" fill="none" extrusionOk="0">
                    <a:moveTo>
                      <a:pt x="0" y="1"/>
                    </a:moveTo>
                    <a:lnTo>
                      <a:pt x="3264" y="4238"/>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34" name="Google Shape;777;p37">
                <a:extLst>
                  <a:ext uri="{FF2B5EF4-FFF2-40B4-BE49-F238E27FC236}">
                    <a16:creationId xmlns:a16="http://schemas.microsoft.com/office/drawing/2014/main" id="{5BC5CA43-DEED-42AB-B702-CC07A45EE68B}"/>
                  </a:ext>
                </a:extLst>
              </p:cNvPr>
              <p:cNvSpPr/>
              <p:nvPr/>
            </p:nvSpPr>
            <p:spPr>
              <a:xfrm>
                <a:off x="9558297" y="3494610"/>
                <a:ext cx="101690" cy="118365"/>
              </a:xfrm>
              <a:custGeom>
                <a:avLst/>
                <a:gdLst/>
                <a:ahLst/>
                <a:cxnLst/>
                <a:rect l="l" t="t" r="r" b="b"/>
                <a:pathLst>
                  <a:path w="4604" h="5359" fill="none" extrusionOk="0">
                    <a:moveTo>
                      <a:pt x="0" y="5359"/>
                    </a:moveTo>
                    <a:lnTo>
                      <a:pt x="4603" y="1"/>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35" name="Google Shape;778;p37">
                <a:extLst>
                  <a:ext uri="{FF2B5EF4-FFF2-40B4-BE49-F238E27FC236}">
                    <a16:creationId xmlns:a16="http://schemas.microsoft.com/office/drawing/2014/main" id="{69091EE4-F06A-47D0-B5DF-77E214DE175A}"/>
                  </a:ext>
                </a:extLst>
              </p:cNvPr>
              <p:cNvSpPr/>
              <p:nvPr/>
            </p:nvSpPr>
            <p:spPr>
              <a:xfrm>
                <a:off x="9586812" y="3687188"/>
                <a:ext cx="112446" cy="14555"/>
              </a:xfrm>
              <a:custGeom>
                <a:avLst/>
                <a:gdLst/>
                <a:ahLst/>
                <a:cxnLst/>
                <a:rect l="l" t="t" r="r" b="b"/>
                <a:pathLst>
                  <a:path w="5091" h="659" fill="none" extrusionOk="0">
                    <a:moveTo>
                      <a:pt x="5090" y="658"/>
                    </a:moveTo>
                    <a:lnTo>
                      <a:pt x="0" y="1"/>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36" name="Google Shape;779;p37">
                <a:extLst>
                  <a:ext uri="{FF2B5EF4-FFF2-40B4-BE49-F238E27FC236}">
                    <a16:creationId xmlns:a16="http://schemas.microsoft.com/office/drawing/2014/main" id="{2AB01D47-DE06-4937-9433-D85294A399FA}"/>
                  </a:ext>
                </a:extLst>
              </p:cNvPr>
              <p:cNvSpPr/>
              <p:nvPr/>
            </p:nvSpPr>
            <p:spPr>
              <a:xfrm>
                <a:off x="9496431" y="3759811"/>
                <a:ext cx="4329" cy="111916"/>
              </a:xfrm>
              <a:custGeom>
                <a:avLst/>
                <a:gdLst/>
                <a:ahLst/>
                <a:cxnLst/>
                <a:rect l="l" t="t" r="r" b="b"/>
                <a:pathLst>
                  <a:path w="196" h="5067" fill="none" extrusionOk="0">
                    <a:moveTo>
                      <a:pt x="0" y="5067"/>
                    </a:moveTo>
                    <a:lnTo>
                      <a:pt x="195" y="1"/>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sp>
            <p:nvSpPr>
              <p:cNvPr id="137" name="Google Shape;780;p37">
                <a:extLst>
                  <a:ext uri="{FF2B5EF4-FFF2-40B4-BE49-F238E27FC236}">
                    <a16:creationId xmlns:a16="http://schemas.microsoft.com/office/drawing/2014/main" id="{EB7427F9-429F-4B02-9C81-E7022220F18A}"/>
                  </a:ext>
                </a:extLst>
              </p:cNvPr>
              <p:cNvSpPr/>
              <p:nvPr/>
            </p:nvSpPr>
            <p:spPr>
              <a:xfrm>
                <a:off x="9302240" y="3708701"/>
                <a:ext cx="124815" cy="51684"/>
              </a:xfrm>
              <a:custGeom>
                <a:avLst/>
                <a:gdLst/>
                <a:ahLst/>
                <a:cxnLst/>
                <a:rect l="l" t="t" r="r" b="b"/>
                <a:pathLst>
                  <a:path w="5651" h="2340" fill="none" extrusionOk="0">
                    <a:moveTo>
                      <a:pt x="0" y="2339"/>
                    </a:moveTo>
                    <a:lnTo>
                      <a:pt x="5651" y="1"/>
                    </a:lnTo>
                  </a:path>
                </a:pathLst>
              </a:custGeom>
              <a:grpFill/>
              <a:ln w="12175" cap="rnd" cmpd="sng">
                <a:solidFill>
                  <a:schemeClr val="tx2">
                    <a:lumMod val="75000"/>
                  </a:schemeClr>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black"/>
                  </a:solidFill>
                  <a:latin typeface="Calibri" panose="020F0502020204030204"/>
                </a:endParaRPr>
              </a:p>
            </p:txBody>
          </p:sp>
        </p:grpSp>
      </p:grpSp>
      <p:grpSp>
        <p:nvGrpSpPr>
          <p:cNvPr id="76" name="Group 75">
            <a:extLst>
              <a:ext uri="{FF2B5EF4-FFF2-40B4-BE49-F238E27FC236}">
                <a16:creationId xmlns:a16="http://schemas.microsoft.com/office/drawing/2014/main" id="{DD8C3148-0E63-441C-A4F3-6D872B67673A}"/>
              </a:ext>
            </a:extLst>
          </p:cNvPr>
          <p:cNvGrpSpPr/>
          <p:nvPr/>
        </p:nvGrpSpPr>
        <p:grpSpPr>
          <a:xfrm>
            <a:off x="8832635" y="1462886"/>
            <a:ext cx="304752" cy="275297"/>
            <a:chOff x="9222516" y="1516163"/>
            <a:chExt cx="567620" cy="567620"/>
          </a:xfrm>
          <a:solidFill>
            <a:schemeClr val="bg1"/>
          </a:solidFill>
        </p:grpSpPr>
        <p:sp>
          <p:nvSpPr>
            <p:cNvPr id="80" name="Google Shape;648;p37">
              <a:extLst>
                <a:ext uri="{FF2B5EF4-FFF2-40B4-BE49-F238E27FC236}">
                  <a16:creationId xmlns:a16="http://schemas.microsoft.com/office/drawing/2014/main" id="{4B0DC45E-C19A-4929-A149-60FF824A6902}"/>
                </a:ext>
              </a:extLst>
            </p:cNvPr>
            <p:cNvSpPr/>
            <p:nvPr/>
          </p:nvSpPr>
          <p:spPr>
            <a:xfrm>
              <a:off x="9411200" y="1517025"/>
              <a:ext cx="189483" cy="566758"/>
            </a:xfrm>
            <a:custGeom>
              <a:avLst/>
              <a:gdLst/>
              <a:ahLst/>
              <a:cxnLst/>
              <a:rect l="l" t="t" r="r" b="b"/>
              <a:pathLst>
                <a:path w="6163" h="16440" fill="none" extrusionOk="0">
                  <a:moveTo>
                    <a:pt x="6162" y="3118"/>
                  </a:moveTo>
                  <a:lnTo>
                    <a:pt x="0" y="0"/>
                  </a:lnTo>
                  <a:lnTo>
                    <a:pt x="0" y="13322"/>
                  </a:lnTo>
                  <a:lnTo>
                    <a:pt x="6162" y="16440"/>
                  </a:lnTo>
                  <a:lnTo>
                    <a:pt x="6162" y="3118"/>
                  </a:lnTo>
                  <a:close/>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92" name="Google Shape;649;p37">
              <a:extLst>
                <a:ext uri="{FF2B5EF4-FFF2-40B4-BE49-F238E27FC236}">
                  <a16:creationId xmlns:a16="http://schemas.microsoft.com/office/drawing/2014/main" id="{3367CDFF-6604-4213-AE12-9E3BE801802A}"/>
                </a:ext>
              </a:extLst>
            </p:cNvPr>
            <p:cNvSpPr/>
            <p:nvPr/>
          </p:nvSpPr>
          <p:spPr>
            <a:xfrm>
              <a:off x="9222516" y="1516163"/>
              <a:ext cx="188715" cy="560070"/>
            </a:xfrm>
            <a:custGeom>
              <a:avLst/>
              <a:gdLst/>
              <a:ahLst/>
              <a:cxnLst/>
              <a:rect l="l" t="t" r="r" b="b"/>
              <a:pathLst>
                <a:path w="6138" h="16246" fill="none" extrusionOk="0">
                  <a:moveTo>
                    <a:pt x="6137" y="1"/>
                  </a:moveTo>
                  <a:lnTo>
                    <a:pt x="536" y="2850"/>
                  </a:lnTo>
                  <a:lnTo>
                    <a:pt x="536" y="2850"/>
                  </a:lnTo>
                  <a:lnTo>
                    <a:pt x="414" y="2899"/>
                  </a:lnTo>
                  <a:lnTo>
                    <a:pt x="317" y="2997"/>
                  </a:lnTo>
                  <a:lnTo>
                    <a:pt x="219" y="3094"/>
                  </a:lnTo>
                  <a:lnTo>
                    <a:pt x="146" y="3216"/>
                  </a:lnTo>
                  <a:lnTo>
                    <a:pt x="73" y="3313"/>
                  </a:lnTo>
                  <a:lnTo>
                    <a:pt x="24" y="3435"/>
                  </a:lnTo>
                  <a:lnTo>
                    <a:pt x="0" y="3557"/>
                  </a:lnTo>
                  <a:lnTo>
                    <a:pt x="0" y="3679"/>
                  </a:lnTo>
                  <a:lnTo>
                    <a:pt x="0" y="15880"/>
                  </a:lnTo>
                  <a:lnTo>
                    <a:pt x="0" y="15880"/>
                  </a:lnTo>
                  <a:lnTo>
                    <a:pt x="0" y="16002"/>
                  </a:lnTo>
                  <a:lnTo>
                    <a:pt x="49" y="16075"/>
                  </a:lnTo>
                  <a:lnTo>
                    <a:pt x="97" y="16148"/>
                  </a:lnTo>
                  <a:lnTo>
                    <a:pt x="170" y="16197"/>
                  </a:lnTo>
                  <a:lnTo>
                    <a:pt x="244" y="16221"/>
                  </a:lnTo>
                  <a:lnTo>
                    <a:pt x="341" y="16246"/>
                  </a:lnTo>
                  <a:lnTo>
                    <a:pt x="463" y="16221"/>
                  </a:lnTo>
                  <a:lnTo>
                    <a:pt x="560" y="16173"/>
                  </a:lnTo>
                  <a:lnTo>
                    <a:pt x="6137" y="13323"/>
                  </a:lnTo>
                  <a:lnTo>
                    <a:pt x="6137" y="1"/>
                  </a:lnTo>
                  <a:close/>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95" name="Google Shape;650;p37">
              <a:extLst>
                <a:ext uri="{FF2B5EF4-FFF2-40B4-BE49-F238E27FC236}">
                  <a16:creationId xmlns:a16="http://schemas.microsoft.com/office/drawing/2014/main" id="{26578B34-267D-4497-A5B5-628452D7BA7D}"/>
                </a:ext>
              </a:extLst>
            </p:cNvPr>
            <p:cNvSpPr/>
            <p:nvPr/>
          </p:nvSpPr>
          <p:spPr>
            <a:xfrm>
              <a:off x="9600653" y="1523747"/>
              <a:ext cx="189483" cy="559208"/>
            </a:xfrm>
            <a:custGeom>
              <a:avLst/>
              <a:gdLst/>
              <a:ahLst/>
              <a:cxnLst/>
              <a:rect l="l" t="t" r="r" b="b"/>
              <a:pathLst>
                <a:path w="6163" h="16221" fill="none" extrusionOk="0">
                  <a:moveTo>
                    <a:pt x="5578" y="49"/>
                  </a:moveTo>
                  <a:lnTo>
                    <a:pt x="0" y="2898"/>
                  </a:lnTo>
                  <a:lnTo>
                    <a:pt x="0" y="16221"/>
                  </a:lnTo>
                  <a:lnTo>
                    <a:pt x="5626" y="13371"/>
                  </a:lnTo>
                  <a:lnTo>
                    <a:pt x="5626" y="13371"/>
                  </a:lnTo>
                  <a:lnTo>
                    <a:pt x="5724" y="13322"/>
                  </a:lnTo>
                  <a:lnTo>
                    <a:pt x="5845" y="13225"/>
                  </a:lnTo>
                  <a:lnTo>
                    <a:pt x="5918" y="13127"/>
                  </a:lnTo>
                  <a:lnTo>
                    <a:pt x="6016" y="13030"/>
                  </a:lnTo>
                  <a:lnTo>
                    <a:pt x="6065" y="12908"/>
                  </a:lnTo>
                  <a:lnTo>
                    <a:pt x="6113" y="12786"/>
                  </a:lnTo>
                  <a:lnTo>
                    <a:pt x="6138" y="12665"/>
                  </a:lnTo>
                  <a:lnTo>
                    <a:pt x="6162" y="12543"/>
                  </a:lnTo>
                  <a:lnTo>
                    <a:pt x="6162" y="341"/>
                  </a:lnTo>
                  <a:lnTo>
                    <a:pt x="6162" y="341"/>
                  </a:lnTo>
                  <a:lnTo>
                    <a:pt x="6138" y="219"/>
                  </a:lnTo>
                  <a:lnTo>
                    <a:pt x="6113" y="146"/>
                  </a:lnTo>
                  <a:lnTo>
                    <a:pt x="6065" y="73"/>
                  </a:lnTo>
                  <a:lnTo>
                    <a:pt x="5992" y="24"/>
                  </a:lnTo>
                  <a:lnTo>
                    <a:pt x="5894" y="0"/>
                  </a:lnTo>
                  <a:lnTo>
                    <a:pt x="5797" y="0"/>
                  </a:lnTo>
                  <a:lnTo>
                    <a:pt x="5699" y="0"/>
                  </a:lnTo>
                  <a:lnTo>
                    <a:pt x="5578" y="49"/>
                  </a:lnTo>
                  <a:lnTo>
                    <a:pt x="5578" y="49"/>
                  </a:lnTo>
                  <a:close/>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98" name="Google Shape;651;p37">
              <a:extLst>
                <a:ext uri="{FF2B5EF4-FFF2-40B4-BE49-F238E27FC236}">
                  <a16:creationId xmlns:a16="http://schemas.microsoft.com/office/drawing/2014/main" id="{926BFB06-5EA0-49B1-8F59-F758B7F582DB}"/>
                </a:ext>
              </a:extLst>
            </p:cNvPr>
            <p:cNvSpPr/>
            <p:nvPr/>
          </p:nvSpPr>
          <p:spPr>
            <a:xfrm>
              <a:off x="9675517" y="1710116"/>
              <a:ext cx="56940" cy="36164"/>
            </a:xfrm>
            <a:custGeom>
              <a:avLst/>
              <a:gdLst/>
              <a:ahLst/>
              <a:cxnLst/>
              <a:rect l="l" t="t" r="r" b="b"/>
              <a:pathLst>
                <a:path w="1852" h="1049" fill="none" extrusionOk="0">
                  <a:moveTo>
                    <a:pt x="1" y="1"/>
                  </a:moveTo>
                  <a:lnTo>
                    <a:pt x="1852" y="1048"/>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03" name="Google Shape;652;p37">
              <a:extLst>
                <a:ext uri="{FF2B5EF4-FFF2-40B4-BE49-F238E27FC236}">
                  <a16:creationId xmlns:a16="http://schemas.microsoft.com/office/drawing/2014/main" id="{A23BA003-9DBE-4810-9447-A70A13E93450}"/>
                </a:ext>
              </a:extLst>
            </p:cNvPr>
            <p:cNvSpPr/>
            <p:nvPr/>
          </p:nvSpPr>
          <p:spPr>
            <a:xfrm>
              <a:off x="9676286" y="1674021"/>
              <a:ext cx="55434" cy="108353"/>
            </a:xfrm>
            <a:custGeom>
              <a:avLst/>
              <a:gdLst/>
              <a:ahLst/>
              <a:cxnLst/>
              <a:rect l="l" t="t" r="r" b="b"/>
              <a:pathLst>
                <a:path w="1803" h="3143" fill="none" extrusionOk="0">
                  <a:moveTo>
                    <a:pt x="1802" y="1"/>
                  </a:moveTo>
                  <a:lnTo>
                    <a:pt x="0" y="3142"/>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04" name="Google Shape;653;p37">
              <a:extLst>
                <a:ext uri="{FF2B5EF4-FFF2-40B4-BE49-F238E27FC236}">
                  <a16:creationId xmlns:a16="http://schemas.microsoft.com/office/drawing/2014/main" id="{C6559FF2-6FCA-4B4E-9BD8-51BF2927E1FE}"/>
                </a:ext>
              </a:extLst>
            </p:cNvPr>
            <p:cNvSpPr/>
            <p:nvPr/>
          </p:nvSpPr>
          <p:spPr>
            <a:xfrm>
              <a:off x="9272662" y="1914169"/>
              <a:ext cx="31" cy="8412"/>
            </a:xfrm>
            <a:custGeom>
              <a:avLst/>
              <a:gdLst/>
              <a:ahLst/>
              <a:cxnLst/>
              <a:rect l="l" t="t" r="r" b="b"/>
              <a:pathLst>
                <a:path w="1" h="244" fill="none" extrusionOk="0">
                  <a:moveTo>
                    <a:pt x="1" y="244"/>
                  </a:moveTo>
                  <a:lnTo>
                    <a:pt x="1" y="244"/>
                  </a:lnTo>
                  <a:lnTo>
                    <a:pt x="1" y="0"/>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05" name="Google Shape;654;p37">
              <a:extLst>
                <a:ext uri="{FF2B5EF4-FFF2-40B4-BE49-F238E27FC236}">
                  <a16:creationId xmlns:a16="http://schemas.microsoft.com/office/drawing/2014/main" id="{5DD7F23E-8C16-46F8-AD6C-E62A061F2411}"/>
                </a:ext>
              </a:extLst>
            </p:cNvPr>
            <p:cNvSpPr/>
            <p:nvPr/>
          </p:nvSpPr>
          <p:spPr>
            <a:xfrm>
              <a:off x="9275675" y="1870490"/>
              <a:ext cx="2275" cy="16823"/>
            </a:xfrm>
            <a:custGeom>
              <a:avLst/>
              <a:gdLst/>
              <a:ahLst/>
              <a:cxnLst/>
              <a:rect l="l" t="t" r="r" b="b"/>
              <a:pathLst>
                <a:path w="74" h="488" fill="none" extrusionOk="0">
                  <a:moveTo>
                    <a:pt x="0" y="488"/>
                  </a:moveTo>
                  <a:lnTo>
                    <a:pt x="73" y="1"/>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06" name="Google Shape;655;p37">
              <a:extLst>
                <a:ext uri="{FF2B5EF4-FFF2-40B4-BE49-F238E27FC236}">
                  <a16:creationId xmlns:a16="http://schemas.microsoft.com/office/drawing/2014/main" id="{4538E978-8CD0-453C-A06D-88ABC42C033A}"/>
                </a:ext>
              </a:extLst>
            </p:cNvPr>
            <p:cNvSpPr/>
            <p:nvPr/>
          </p:nvSpPr>
          <p:spPr>
            <a:xfrm>
              <a:off x="9282408" y="1827673"/>
              <a:ext cx="4520" cy="16823"/>
            </a:xfrm>
            <a:custGeom>
              <a:avLst/>
              <a:gdLst/>
              <a:ahLst/>
              <a:cxnLst/>
              <a:rect l="l" t="t" r="r" b="b"/>
              <a:pathLst>
                <a:path w="147" h="488" fill="none" extrusionOk="0">
                  <a:moveTo>
                    <a:pt x="0" y="488"/>
                  </a:moveTo>
                  <a:lnTo>
                    <a:pt x="98" y="147"/>
                  </a:lnTo>
                  <a:lnTo>
                    <a:pt x="147" y="1"/>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07" name="Google Shape;656;p37">
              <a:extLst>
                <a:ext uri="{FF2B5EF4-FFF2-40B4-BE49-F238E27FC236}">
                  <a16:creationId xmlns:a16="http://schemas.microsoft.com/office/drawing/2014/main" id="{ADE38898-54FC-4287-9748-D3D64C9E7BA0}"/>
                </a:ext>
              </a:extLst>
            </p:cNvPr>
            <p:cNvSpPr/>
            <p:nvPr/>
          </p:nvSpPr>
          <p:spPr>
            <a:xfrm>
              <a:off x="9294399" y="1787373"/>
              <a:ext cx="5995" cy="15134"/>
            </a:xfrm>
            <a:custGeom>
              <a:avLst/>
              <a:gdLst/>
              <a:ahLst/>
              <a:cxnLst/>
              <a:rect l="l" t="t" r="r" b="b"/>
              <a:pathLst>
                <a:path w="195" h="439" fill="none" extrusionOk="0">
                  <a:moveTo>
                    <a:pt x="0" y="439"/>
                  </a:moveTo>
                  <a:lnTo>
                    <a:pt x="195" y="25"/>
                  </a:lnTo>
                  <a:lnTo>
                    <a:pt x="195" y="1"/>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08" name="Google Shape;657;p37">
              <a:extLst>
                <a:ext uri="{FF2B5EF4-FFF2-40B4-BE49-F238E27FC236}">
                  <a16:creationId xmlns:a16="http://schemas.microsoft.com/office/drawing/2014/main" id="{2781C35F-C834-4094-9C36-1A47A8313636}"/>
                </a:ext>
              </a:extLst>
            </p:cNvPr>
            <p:cNvSpPr/>
            <p:nvPr/>
          </p:nvSpPr>
          <p:spPr>
            <a:xfrm>
              <a:off x="9312354" y="1750416"/>
              <a:ext cx="9008" cy="13479"/>
            </a:xfrm>
            <a:custGeom>
              <a:avLst/>
              <a:gdLst/>
              <a:ahLst/>
              <a:cxnLst/>
              <a:rect l="l" t="t" r="r" b="b"/>
              <a:pathLst>
                <a:path w="293" h="391" fill="none" extrusionOk="0">
                  <a:moveTo>
                    <a:pt x="1" y="391"/>
                  </a:moveTo>
                  <a:lnTo>
                    <a:pt x="74" y="269"/>
                  </a:lnTo>
                  <a:lnTo>
                    <a:pt x="293" y="1"/>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09" name="Google Shape;658;p37">
              <a:extLst>
                <a:ext uri="{FF2B5EF4-FFF2-40B4-BE49-F238E27FC236}">
                  <a16:creationId xmlns:a16="http://schemas.microsoft.com/office/drawing/2014/main" id="{2093D1D1-4720-4588-8974-AA992A8CCA47}"/>
                </a:ext>
              </a:extLst>
            </p:cNvPr>
            <p:cNvSpPr/>
            <p:nvPr/>
          </p:nvSpPr>
          <p:spPr>
            <a:xfrm>
              <a:off x="9337811" y="1721871"/>
              <a:ext cx="12759" cy="9274"/>
            </a:xfrm>
            <a:custGeom>
              <a:avLst/>
              <a:gdLst/>
              <a:ahLst/>
              <a:cxnLst/>
              <a:rect l="l" t="t" r="r" b="b"/>
              <a:pathLst>
                <a:path w="415" h="269" fill="none" extrusionOk="0">
                  <a:moveTo>
                    <a:pt x="1" y="269"/>
                  </a:moveTo>
                  <a:lnTo>
                    <a:pt x="25" y="244"/>
                  </a:lnTo>
                  <a:lnTo>
                    <a:pt x="220" y="123"/>
                  </a:lnTo>
                  <a:lnTo>
                    <a:pt x="415" y="1"/>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0" name="Google Shape;659;p37">
              <a:extLst>
                <a:ext uri="{FF2B5EF4-FFF2-40B4-BE49-F238E27FC236}">
                  <a16:creationId xmlns:a16="http://schemas.microsoft.com/office/drawing/2014/main" id="{32013AE3-F8E7-4BC1-B999-2509CADA054A}"/>
                </a:ext>
              </a:extLst>
            </p:cNvPr>
            <p:cNvSpPr/>
            <p:nvPr/>
          </p:nvSpPr>
          <p:spPr>
            <a:xfrm>
              <a:off x="9372246" y="1707599"/>
              <a:ext cx="14266" cy="3413"/>
            </a:xfrm>
            <a:custGeom>
              <a:avLst/>
              <a:gdLst/>
              <a:ahLst/>
              <a:cxnLst/>
              <a:rect l="l" t="t" r="r" b="b"/>
              <a:pathLst>
                <a:path w="464" h="99" fill="none" extrusionOk="0">
                  <a:moveTo>
                    <a:pt x="1" y="98"/>
                  </a:moveTo>
                  <a:lnTo>
                    <a:pt x="220" y="50"/>
                  </a:lnTo>
                  <a:lnTo>
                    <a:pt x="464" y="1"/>
                  </a:lnTo>
                  <a:lnTo>
                    <a:pt x="464" y="1"/>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1" name="Google Shape;660;p37">
              <a:extLst>
                <a:ext uri="{FF2B5EF4-FFF2-40B4-BE49-F238E27FC236}">
                  <a16:creationId xmlns:a16="http://schemas.microsoft.com/office/drawing/2014/main" id="{6CB1717F-472C-4D7E-B794-045AE8DC7D4C}"/>
                </a:ext>
              </a:extLst>
            </p:cNvPr>
            <p:cNvSpPr/>
            <p:nvPr/>
          </p:nvSpPr>
          <p:spPr>
            <a:xfrm>
              <a:off x="9410462" y="1706772"/>
              <a:ext cx="15004" cy="2551"/>
            </a:xfrm>
            <a:custGeom>
              <a:avLst/>
              <a:gdLst/>
              <a:ahLst/>
              <a:cxnLst/>
              <a:rect l="l" t="t" r="r" b="b"/>
              <a:pathLst>
                <a:path w="488" h="74" fill="none" extrusionOk="0">
                  <a:moveTo>
                    <a:pt x="0" y="0"/>
                  </a:moveTo>
                  <a:lnTo>
                    <a:pt x="146" y="0"/>
                  </a:lnTo>
                  <a:lnTo>
                    <a:pt x="463" y="74"/>
                  </a:lnTo>
                  <a:lnTo>
                    <a:pt x="487" y="74"/>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2" name="Google Shape;661;p37">
              <a:extLst>
                <a:ext uri="{FF2B5EF4-FFF2-40B4-BE49-F238E27FC236}">
                  <a16:creationId xmlns:a16="http://schemas.microsoft.com/office/drawing/2014/main" id="{9931B654-A9BE-4D59-870C-ABB1AC5323D5}"/>
                </a:ext>
              </a:extLst>
            </p:cNvPr>
            <p:cNvSpPr/>
            <p:nvPr/>
          </p:nvSpPr>
          <p:spPr>
            <a:xfrm>
              <a:off x="9447141" y="1721044"/>
              <a:ext cx="11253" cy="10963"/>
            </a:xfrm>
            <a:custGeom>
              <a:avLst/>
              <a:gdLst/>
              <a:ahLst/>
              <a:cxnLst/>
              <a:rect l="l" t="t" r="r" b="b"/>
              <a:pathLst>
                <a:path w="366" h="318" fill="none" extrusionOk="0">
                  <a:moveTo>
                    <a:pt x="0" y="1"/>
                  </a:moveTo>
                  <a:lnTo>
                    <a:pt x="98" y="74"/>
                  </a:lnTo>
                  <a:lnTo>
                    <a:pt x="317" y="268"/>
                  </a:lnTo>
                  <a:lnTo>
                    <a:pt x="366" y="317"/>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3" name="Google Shape;662;p37">
              <a:extLst>
                <a:ext uri="{FF2B5EF4-FFF2-40B4-BE49-F238E27FC236}">
                  <a16:creationId xmlns:a16="http://schemas.microsoft.com/office/drawing/2014/main" id="{9FCA7CAA-91B6-40FE-A9EA-D77CBD798F2F}"/>
                </a:ext>
              </a:extLst>
            </p:cNvPr>
            <p:cNvSpPr/>
            <p:nvPr/>
          </p:nvSpPr>
          <p:spPr>
            <a:xfrm>
              <a:off x="9471861" y="1753795"/>
              <a:ext cx="6026" cy="15134"/>
            </a:xfrm>
            <a:custGeom>
              <a:avLst/>
              <a:gdLst/>
              <a:ahLst/>
              <a:cxnLst/>
              <a:rect l="l" t="t" r="r" b="b"/>
              <a:pathLst>
                <a:path w="196" h="439" fill="none" extrusionOk="0">
                  <a:moveTo>
                    <a:pt x="0" y="0"/>
                  </a:moveTo>
                  <a:lnTo>
                    <a:pt x="25" y="73"/>
                  </a:lnTo>
                  <a:lnTo>
                    <a:pt x="171" y="366"/>
                  </a:lnTo>
                  <a:lnTo>
                    <a:pt x="195" y="439"/>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4" name="Google Shape;663;p37">
              <a:extLst>
                <a:ext uri="{FF2B5EF4-FFF2-40B4-BE49-F238E27FC236}">
                  <a16:creationId xmlns:a16="http://schemas.microsoft.com/office/drawing/2014/main" id="{EC6E801E-E170-44D9-B5DA-E15C3EDD5738}"/>
                </a:ext>
              </a:extLst>
            </p:cNvPr>
            <p:cNvSpPr/>
            <p:nvPr/>
          </p:nvSpPr>
          <p:spPr>
            <a:xfrm>
              <a:off x="9486065" y="1794095"/>
              <a:ext cx="4550" cy="15996"/>
            </a:xfrm>
            <a:custGeom>
              <a:avLst/>
              <a:gdLst/>
              <a:ahLst/>
              <a:cxnLst/>
              <a:rect l="l" t="t" r="r" b="b"/>
              <a:pathLst>
                <a:path w="148" h="464" fill="none" extrusionOk="0">
                  <a:moveTo>
                    <a:pt x="1" y="0"/>
                  </a:moveTo>
                  <a:lnTo>
                    <a:pt x="147" y="463"/>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5" name="Google Shape;664;p37">
              <a:extLst>
                <a:ext uri="{FF2B5EF4-FFF2-40B4-BE49-F238E27FC236}">
                  <a16:creationId xmlns:a16="http://schemas.microsoft.com/office/drawing/2014/main" id="{10141D6B-B978-469E-9F3B-E70325EBD8DF}"/>
                </a:ext>
              </a:extLst>
            </p:cNvPr>
            <p:cNvSpPr/>
            <p:nvPr/>
          </p:nvSpPr>
          <p:spPr>
            <a:xfrm>
              <a:off x="9497318" y="1836085"/>
              <a:ext cx="4520" cy="15962"/>
            </a:xfrm>
            <a:custGeom>
              <a:avLst/>
              <a:gdLst/>
              <a:ahLst/>
              <a:cxnLst/>
              <a:rect l="l" t="t" r="r" b="b"/>
              <a:pathLst>
                <a:path w="147" h="463" fill="none" extrusionOk="0">
                  <a:moveTo>
                    <a:pt x="0" y="0"/>
                  </a:moveTo>
                  <a:lnTo>
                    <a:pt x="146" y="463"/>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6" name="Google Shape;665;p37">
              <a:extLst>
                <a:ext uri="{FF2B5EF4-FFF2-40B4-BE49-F238E27FC236}">
                  <a16:creationId xmlns:a16="http://schemas.microsoft.com/office/drawing/2014/main" id="{B21BF3E3-9735-41C5-9914-0531E18893BB}"/>
                </a:ext>
              </a:extLst>
            </p:cNvPr>
            <p:cNvSpPr/>
            <p:nvPr/>
          </p:nvSpPr>
          <p:spPr>
            <a:xfrm>
              <a:off x="9509278" y="1878040"/>
              <a:ext cx="6026" cy="15169"/>
            </a:xfrm>
            <a:custGeom>
              <a:avLst/>
              <a:gdLst/>
              <a:ahLst/>
              <a:cxnLst/>
              <a:rect l="l" t="t" r="r" b="b"/>
              <a:pathLst>
                <a:path w="196" h="440" fill="none" extrusionOk="0">
                  <a:moveTo>
                    <a:pt x="1" y="1"/>
                  </a:moveTo>
                  <a:lnTo>
                    <a:pt x="50" y="123"/>
                  </a:lnTo>
                  <a:lnTo>
                    <a:pt x="196" y="415"/>
                  </a:lnTo>
                  <a:lnTo>
                    <a:pt x="196" y="439"/>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7" name="Google Shape;666;p37">
              <a:extLst>
                <a:ext uri="{FF2B5EF4-FFF2-40B4-BE49-F238E27FC236}">
                  <a16:creationId xmlns:a16="http://schemas.microsoft.com/office/drawing/2014/main" id="{330076C5-5AB7-4088-BA2D-E19630D92EA8}"/>
                </a:ext>
              </a:extLst>
            </p:cNvPr>
            <p:cNvSpPr/>
            <p:nvPr/>
          </p:nvSpPr>
          <p:spPr>
            <a:xfrm>
              <a:off x="9527264" y="1916686"/>
              <a:ext cx="9008" cy="12618"/>
            </a:xfrm>
            <a:custGeom>
              <a:avLst/>
              <a:gdLst/>
              <a:ahLst/>
              <a:cxnLst/>
              <a:rect l="l" t="t" r="r" b="b"/>
              <a:pathLst>
                <a:path w="293" h="366" fill="none" extrusionOk="0">
                  <a:moveTo>
                    <a:pt x="0" y="0"/>
                  </a:moveTo>
                  <a:lnTo>
                    <a:pt x="98" y="146"/>
                  </a:lnTo>
                  <a:lnTo>
                    <a:pt x="293" y="366"/>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8" name="Google Shape;667;p37">
              <a:extLst>
                <a:ext uri="{FF2B5EF4-FFF2-40B4-BE49-F238E27FC236}">
                  <a16:creationId xmlns:a16="http://schemas.microsoft.com/office/drawing/2014/main" id="{6B5FA011-C0FF-4BF5-A104-5C4923045DBF}"/>
                </a:ext>
              </a:extLst>
            </p:cNvPr>
            <p:cNvSpPr/>
            <p:nvPr/>
          </p:nvSpPr>
          <p:spPr>
            <a:xfrm>
              <a:off x="9555703" y="1946058"/>
              <a:ext cx="13528" cy="6757"/>
            </a:xfrm>
            <a:custGeom>
              <a:avLst/>
              <a:gdLst/>
              <a:ahLst/>
              <a:cxnLst/>
              <a:rect l="l" t="t" r="r" b="b"/>
              <a:pathLst>
                <a:path w="440" h="196" fill="none" extrusionOk="0">
                  <a:moveTo>
                    <a:pt x="1" y="1"/>
                  </a:moveTo>
                  <a:lnTo>
                    <a:pt x="171" y="98"/>
                  </a:lnTo>
                  <a:lnTo>
                    <a:pt x="439" y="195"/>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19" name="Google Shape;668;p37">
              <a:extLst>
                <a:ext uri="{FF2B5EF4-FFF2-40B4-BE49-F238E27FC236}">
                  <a16:creationId xmlns:a16="http://schemas.microsoft.com/office/drawing/2014/main" id="{05C26DA1-D554-4F18-94B8-EBCD1AFB76C7}"/>
                </a:ext>
              </a:extLst>
            </p:cNvPr>
            <p:cNvSpPr/>
            <p:nvPr/>
          </p:nvSpPr>
          <p:spPr>
            <a:xfrm>
              <a:off x="9592413" y="1956986"/>
              <a:ext cx="15004" cy="862"/>
            </a:xfrm>
            <a:custGeom>
              <a:avLst/>
              <a:gdLst/>
              <a:ahLst/>
              <a:cxnLst/>
              <a:rect l="l" t="t" r="r" b="b"/>
              <a:pathLst>
                <a:path w="488" h="25" fill="none" extrusionOk="0">
                  <a:moveTo>
                    <a:pt x="0" y="0"/>
                  </a:moveTo>
                  <a:lnTo>
                    <a:pt x="49" y="25"/>
                  </a:lnTo>
                  <a:lnTo>
                    <a:pt x="487" y="0"/>
                  </a:lnTo>
                  <a:lnTo>
                    <a:pt x="487" y="0"/>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20" name="Google Shape;669;p37">
              <a:extLst>
                <a:ext uri="{FF2B5EF4-FFF2-40B4-BE49-F238E27FC236}">
                  <a16:creationId xmlns:a16="http://schemas.microsoft.com/office/drawing/2014/main" id="{ADE10A38-F69E-4446-9C7E-5DBBEC656E4C}"/>
                </a:ext>
              </a:extLst>
            </p:cNvPr>
            <p:cNvSpPr/>
            <p:nvPr/>
          </p:nvSpPr>
          <p:spPr>
            <a:xfrm>
              <a:off x="9631336" y="1950264"/>
              <a:ext cx="14266" cy="4240"/>
            </a:xfrm>
            <a:custGeom>
              <a:avLst/>
              <a:gdLst/>
              <a:ahLst/>
              <a:cxnLst/>
              <a:rect l="l" t="t" r="r" b="b"/>
              <a:pathLst>
                <a:path w="464" h="123" fill="none" extrusionOk="0">
                  <a:moveTo>
                    <a:pt x="1" y="122"/>
                  </a:moveTo>
                  <a:lnTo>
                    <a:pt x="196" y="73"/>
                  </a:lnTo>
                  <a:lnTo>
                    <a:pt x="464" y="0"/>
                  </a:lnTo>
                  <a:lnTo>
                    <a:pt x="464" y="0"/>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21" name="Google Shape;670;p37">
              <a:extLst>
                <a:ext uri="{FF2B5EF4-FFF2-40B4-BE49-F238E27FC236}">
                  <a16:creationId xmlns:a16="http://schemas.microsoft.com/office/drawing/2014/main" id="{27AAEDB9-135F-43BA-B1D9-259624256FEC}"/>
                </a:ext>
              </a:extLst>
            </p:cNvPr>
            <p:cNvSpPr/>
            <p:nvPr/>
          </p:nvSpPr>
          <p:spPr>
            <a:xfrm>
              <a:off x="9668046" y="1930958"/>
              <a:ext cx="12759" cy="9274"/>
            </a:xfrm>
            <a:custGeom>
              <a:avLst/>
              <a:gdLst/>
              <a:ahLst/>
              <a:cxnLst/>
              <a:rect l="l" t="t" r="r" b="b"/>
              <a:pathLst>
                <a:path w="415" h="269" fill="none" extrusionOk="0">
                  <a:moveTo>
                    <a:pt x="0" y="268"/>
                  </a:moveTo>
                  <a:lnTo>
                    <a:pt x="195" y="146"/>
                  </a:lnTo>
                  <a:lnTo>
                    <a:pt x="390" y="0"/>
                  </a:lnTo>
                  <a:lnTo>
                    <a:pt x="414" y="0"/>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22" name="Google Shape;671;p37">
              <a:extLst>
                <a:ext uri="{FF2B5EF4-FFF2-40B4-BE49-F238E27FC236}">
                  <a16:creationId xmlns:a16="http://schemas.microsoft.com/office/drawing/2014/main" id="{4DD1D4D3-152B-49D8-9E77-3DA15591D03D}"/>
                </a:ext>
              </a:extLst>
            </p:cNvPr>
            <p:cNvSpPr/>
            <p:nvPr/>
          </p:nvSpPr>
          <p:spPr>
            <a:xfrm>
              <a:off x="9697254" y="1897380"/>
              <a:ext cx="7502" cy="14307"/>
            </a:xfrm>
            <a:custGeom>
              <a:avLst/>
              <a:gdLst/>
              <a:ahLst/>
              <a:cxnLst/>
              <a:rect l="l" t="t" r="r" b="b"/>
              <a:pathLst>
                <a:path w="244" h="415" fill="none" extrusionOk="0">
                  <a:moveTo>
                    <a:pt x="0" y="414"/>
                  </a:moveTo>
                  <a:lnTo>
                    <a:pt x="24" y="365"/>
                  </a:lnTo>
                  <a:lnTo>
                    <a:pt x="146" y="195"/>
                  </a:lnTo>
                  <a:lnTo>
                    <a:pt x="244" y="0"/>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23" name="Google Shape;672;p37">
              <a:extLst>
                <a:ext uri="{FF2B5EF4-FFF2-40B4-BE49-F238E27FC236}">
                  <a16:creationId xmlns:a16="http://schemas.microsoft.com/office/drawing/2014/main" id="{24D95F5B-441F-480F-8509-F1BCF066D1AC}"/>
                </a:ext>
              </a:extLst>
            </p:cNvPr>
            <p:cNvSpPr/>
            <p:nvPr/>
          </p:nvSpPr>
          <p:spPr>
            <a:xfrm>
              <a:off x="9712965" y="1855391"/>
              <a:ext cx="3013" cy="16823"/>
            </a:xfrm>
            <a:custGeom>
              <a:avLst/>
              <a:gdLst/>
              <a:ahLst/>
              <a:cxnLst/>
              <a:rect l="l" t="t" r="r" b="b"/>
              <a:pathLst>
                <a:path w="98" h="488" fill="none" extrusionOk="0">
                  <a:moveTo>
                    <a:pt x="0" y="487"/>
                  </a:moveTo>
                  <a:lnTo>
                    <a:pt x="49" y="293"/>
                  </a:lnTo>
                  <a:lnTo>
                    <a:pt x="98" y="0"/>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24" name="Google Shape;673;p37">
              <a:extLst>
                <a:ext uri="{FF2B5EF4-FFF2-40B4-BE49-F238E27FC236}">
                  <a16:creationId xmlns:a16="http://schemas.microsoft.com/office/drawing/2014/main" id="{63AAB119-322B-41FC-9285-84DFBC70D9A5}"/>
                </a:ext>
              </a:extLst>
            </p:cNvPr>
            <p:cNvSpPr/>
            <p:nvPr/>
          </p:nvSpPr>
          <p:spPr>
            <a:xfrm>
              <a:off x="9716716" y="1811712"/>
              <a:ext cx="769" cy="16823"/>
            </a:xfrm>
            <a:custGeom>
              <a:avLst/>
              <a:gdLst/>
              <a:ahLst/>
              <a:cxnLst/>
              <a:rect l="l" t="t" r="r" b="b"/>
              <a:pathLst>
                <a:path w="25" h="488" fill="none" extrusionOk="0">
                  <a:moveTo>
                    <a:pt x="25" y="488"/>
                  </a:moveTo>
                  <a:lnTo>
                    <a:pt x="25" y="464"/>
                  </a:lnTo>
                  <a:lnTo>
                    <a:pt x="25" y="123"/>
                  </a:lnTo>
                  <a:lnTo>
                    <a:pt x="0" y="1"/>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sp>
          <p:nvSpPr>
            <p:cNvPr id="125" name="Google Shape;674;p37">
              <a:extLst>
                <a:ext uri="{FF2B5EF4-FFF2-40B4-BE49-F238E27FC236}">
                  <a16:creationId xmlns:a16="http://schemas.microsoft.com/office/drawing/2014/main" id="{5F83E2CF-6CEB-4C98-A253-DF9B370B7BC6}"/>
                </a:ext>
              </a:extLst>
            </p:cNvPr>
            <p:cNvSpPr/>
            <p:nvPr/>
          </p:nvSpPr>
          <p:spPr>
            <a:xfrm>
              <a:off x="9711459" y="1774789"/>
              <a:ext cx="1537" cy="8412"/>
            </a:xfrm>
            <a:custGeom>
              <a:avLst/>
              <a:gdLst/>
              <a:ahLst/>
              <a:cxnLst/>
              <a:rect l="l" t="t" r="r" b="b"/>
              <a:pathLst>
                <a:path w="50" h="244" fill="none" extrusionOk="0">
                  <a:moveTo>
                    <a:pt x="49" y="244"/>
                  </a:moveTo>
                  <a:lnTo>
                    <a:pt x="49" y="244"/>
                  </a:lnTo>
                  <a:lnTo>
                    <a:pt x="1" y="0"/>
                  </a:lnTo>
                </a:path>
              </a:pathLst>
            </a:custGeom>
            <a:grpFill/>
            <a:ln w="12175" cap="rnd" cmpd="sng">
              <a:solidFill>
                <a:srgbClr val="C3B69B"/>
              </a:solidFill>
              <a:prstDash val="solid"/>
              <a:round/>
              <a:headEnd type="none" w="sm" len="sm"/>
              <a:tailEnd type="none" w="sm" len="sm"/>
            </a:ln>
          </p:spPr>
          <p:txBody>
            <a:bodyPr spcFirstLastPara="1" wrap="square" lIns="91425" tIns="91425" rIns="91425" bIns="91425" anchor="ctr" anchorCtr="0">
              <a:noAutofit/>
            </a:bodyPr>
            <a:lstStyle/>
            <a:p>
              <a:endParaRPr dirty="0">
                <a:solidFill>
                  <a:prstClr val="white"/>
                </a:solidFill>
                <a:latin typeface="Calibri" panose="020F0502020204030204"/>
              </a:endParaRPr>
            </a:p>
          </p:txBody>
        </p:sp>
      </p:grpSp>
      <p:cxnSp>
        <p:nvCxnSpPr>
          <p:cNvPr id="3" name="Straight Connector 2">
            <a:extLst>
              <a:ext uri="{FF2B5EF4-FFF2-40B4-BE49-F238E27FC236}">
                <a16:creationId xmlns:a16="http://schemas.microsoft.com/office/drawing/2014/main" id="{A84BA5CD-3850-4B71-978C-80CA65F3271B}"/>
              </a:ext>
            </a:extLst>
          </p:cNvPr>
          <p:cNvCxnSpPr>
            <a:cxnSpLocks/>
          </p:cNvCxnSpPr>
          <p:nvPr/>
        </p:nvCxnSpPr>
        <p:spPr>
          <a:xfrm>
            <a:off x="3665622" y="912958"/>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685088"/>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25192" y="858442"/>
                        <a:ext cx="1191" cy="1191"/>
                      </a:xfrm>
                      <a:prstGeom prst="rect">
                        <a:avLst/>
                      </a:prstGeom>
                    </p:spPr>
                  </p:pic>
                </p:oleObj>
              </mc:Fallback>
            </mc:AlternateContent>
          </a:graphicData>
        </a:graphic>
      </p:graphicFrame>
      <p:sp>
        <p:nvSpPr>
          <p:cNvPr id="30" name="Rounded Rectangle 29"/>
          <p:cNvSpPr/>
          <p:nvPr/>
        </p:nvSpPr>
        <p:spPr>
          <a:xfrm>
            <a:off x="7078898" y="2867554"/>
            <a:ext cx="3413770" cy="918815"/>
          </a:xfrm>
          <a:prstGeom prst="roundRect">
            <a:avLst>
              <a:gd name="adj" fmla="val 50000"/>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lIns="960120" rIns="205740" rtlCol="0" anchor="ctr"/>
          <a:lstStyle/>
          <a:p>
            <a:pPr algn="ctr"/>
            <a:endParaRPr lang="en-US" sz="1400" dirty="0">
              <a:solidFill>
                <a:prstClr val="white"/>
              </a:solidFill>
              <a:latin typeface="Calibri" panose="020F0502020204030204"/>
              <a:cs typeface="Calibri" panose="020F0502020204030204" pitchFamily="34" charset="0"/>
            </a:endParaRPr>
          </a:p>
        </p:txBody>
      </p:sp>
      <p:sp>
        <p:nvSpPr>
          <p:cNvPr id="11" name="Rounded Rectangle 10"/>
          <p:cNvSpPr/>
          <p:nvPr/>
        </p:nvSpPr>
        <p:spPr>
          <a:xfrm>
            <a:off x="6576820" y="1294596"/>
            <a:ext cx="3825980" cy="1012819"/>
          </a:xfrm>
          <a:prstGeom prst="roundRect">
            <a:avLst>
              <a:gd name="adj" fmla="val 50000"/>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0" tIns="34290" rIns="205740" bIns="34290" numCol="1" spcCol="0" rtlCol="0" fromWordArt="0" anchor="ctr" anchorCtr="0" forceAA="0" compatLnSpc="1">
            <a:prstTxWarp prst="textNoShape">
              <a:avLst/>
            </a:prstTxWarp>
            <a:noAutofit/>
          </a:bodyPr>
          <a:lstStyle/>
          <a:p>
            <a:endParaRPr lang="en-GB" sz="1400" dirty="0">
              <a:solidFill>
                <a:prstClr val="white"/>
              </a:solidFill>
              <a:latin typeface="Calibri Light" panose="020F0302020204030204"/>
              <a:ea typeface="Calibri" panose="020F0502020204030204" pitchFamily="34" charset="0"/>
            </a:endParaRPr>
          </a:p>
          <a:p>
            <a:pPr algn="r"/>
            <a:r>
              <a:rPr lang="en-US" sz="1200" dirty="0">
                <a:solidFill>
                  <a:prstClr val="white"/>
                </a:solidFill>
                <a:latin typeface="Calibri Light" panose="020F0302020204030204"/>
                <a:cs typeface="Calibri" panose="020F0502020204030204" pitchFamily="34" charset="0"/>
              </a:rPr>
              <a:t>.</a:t>
            </a:r>
          </a:p>
        </p:txBody>
      </p:sp>
      <p:sp>
        <p:nvSpPr>
          <p:cNvPr id="32" name="Rounded Rectangle 31"/>
          <p:cNvSpPr/>
          <p:nvPr/>
        </p:nvSpPr>
        <p:spPr>
          <a:xfrm>
            <a:off x="1787372" y="2880913"/>
            <a:ext cx="3825980" cy="892099"/>
          </a:xfrm>
          <a:prstGeom prst="roundRect">
            <a:avLst>
              <a:gd name="adj" fmla="val 50000"/>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Ins="960120" rtlCol="0" anchor="ctr"/>
          <a:lstStyle/>
          <a:p>
            <a:pPr algn="ctr"/>
            <a:endParaRPr lang="en-US" sz="1400" dirty="0">
              <a:solidFill>
                <a:prstClr val="white"/>
              </a:solidFill>
              <a:latin typeface="Calibri" panose="020F0502020204030204"/>
              <a:cs typeface="Calibri" panose="020F0502020204030204" pitchFamily="34" charset="0"/>
            </a:endParaRPr>
          </a:p>
        </p:txBody>
      </p:sp>
      <p:sp>
        <p:nvSpPr>
          <p:cNvPr id="33" name="Rounded Rectangle 32"/>
          <p:cNvSpPr/>
          <p:nvPr/>
        </p:nvSpPr>
        <p:spPr>
          <a:xfrm>
            <a:off x="3200401" y="4022624"/>
            <a:ext cx="6234701" cy="1861768"/>
          </a:xfrm>
          <a:prstGeom prst="roundRect">
            <a:avLst>
              <a:gd name="adj" fmla="val 50000"/>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Ins="685800" rtlCol="0" anchor="ctr"/>
          <a:lstStyle/>
          <a:p>
            <a:pPr algn="ctr"/>
            <a:endParaRPr lang="en-GB" sz="1400" dirty="0">
              <a:solidFill>
                <a:prstClr val="white"/>
              </a:solidFill>
              <a:latin typeface="Calibri" panose="020F0502020204030204"/>
              <a:ea typeface="Calibri" panose="020F0502020204030204" pitchFamily="34" charset="0"/>
            </a:endParaRPr>
          </a:p>
        </p:txBody>
      </p:sp>
      <p:sp>
        <p:nvSpPr>
          <p:cNvPr id="34" name="Rounded Rectangle 33"/>
          <p:cNvSpPr/>
          <p:nvPr/>
        </p:nvSpPr>
        <p:spPr>
          <a:xfrm>
            <a:off x="1793528" y="1276304"/>
            <a:ext cx="3825980" cy="1074472"/>
          </a:xfrm>
          <a:prstGeom prst="roundRect">
            <a:avLst>
              <a:gd name="adj" fmla="val 50000"/>
            </a:avLst>
          </a:prstGeom>
          <a:solidFill>
            <a:srgbClr val="C3B69B"/>
          </a:solidFill>
          <a:ln>
            <a:noFill/>
          </a:ln>
        </p:spPr>
        <p:style>
          <a:lnRef idx="2">
            <a:schemeClr val="accent1">
              <a:shade val="50000"/>
            </a:schemeClr>
          </a:lnRef>
          <a:fillRef idx="1">
            <a:schemeClr val="accent1"/>
          </a:fillRef>
          <a:effectRef idx="0">
            <a:schemeClr val="accent1"/>
          </a:effectRef>
          <a:fontRef idx="minor">
            <a:schemeClr val="lt1"/>
          </a:fontRef>
        </p:style>
        <p:txBody>
          <a:bodyPr lIns="205740" rIns="685800" rtlCol="0" anchor="ctr"/>
          <a:lstStyle/>
          <a:p>
            <a:pPr algn="ctr"/>
            <a:endParaRPr lang="en-US" sz="1400" dirty="0">
              <a:solidFill>
                <a:prstClr val="white"/>
              </a:solidFill>
              <a:latin typeface="Calibri" panose="020F0502020204030204"/>
              <a:cs typeface="Calibri" panose="020F0502020204030204" pitchFamily="34" charset="0"/>
            </a:endParaRPr>
          </a:p>
        </p:txBody>
      </p:sp>
      <p:sp>
        <p:nvSpPr>
          <p:cNvPr id="2" name="Title 1">
            <a:extLst>
              <a:ext uri="{FF2B5EF4-FFF2-40B4-BE49-F238E27FC236}">
                <a16:creationId xmlns:a16="http://schemas.microsoft.com/office/drawing/2014/main" id="{471B2D5C-4670-419C-8486-0DF706EEDBEE}"/>
              </a:ext>
            </a:extLst>
          </p:cNvPr>
          <p:cNvSpPr>
            <a:spLocks noGrp="1"/>
          </p:cNvSpPr>
          <p:nvPr>
            <p:ph type="title"/>
          </p:nvPr>
        </p:nvSpPr>
        <p:spPr>
          <a:xfrm>
            <a:off x="1546930" y="25174"/>
            <a:ext cx="9144000" cy="731667"/>
          </a:xfrm>
        </p:spPr>
        <p:txBody>
          <a:bodyPr>
            <a:normAutofit/>
          </a:bodyPr>
          <a:lstStyle/>
          <a:p>
            <a:pPr algn="ctr"/>
            <a:r>
              <a:rPr lang="en-US" b="1" dirty="0">
                <a:solidFill>
                  <a:schemeClr val="bg1"/>
                </a:solidFill>
                <a:latin typeface="+mn-lt"/>
              </a:rPr>
              <a:t>Impact for the HSRC</a:t>
            </a:r>
            <a:endParaRPr lang="en-US" b="1" dirty="0"/>
          </a:p>
        </p:txBody>
      </p:sp>
      <p:sp>
        <p:nvSpPr>
          <p:cNvPr id="4" name="Slide Number Placeholder 3">
            <a:extLst>
              <a:ext uri="{FF2B5EF4-FFF2-40B4-BE49-F238E27FC236}">
                <a16:creationId xmlns:a16="http://schemas.microsoft.com/office/drawing/2014/main" id="{8BE8A89D-471B-4262-BE65-0E313E37B161}"/>
              </a:ext>
            </a:extLst>
          </p:cNvPr>
          <p:cNvSpPr>
            <a:spLocks noGrp="1"/>
          </p:cNvSpPr>
          <p:nvPr>
            <p:ph type="sldNum" sz="quarter" idx="12"/>
          </p:nvPr>
        </p:nvSpPr>
        <p:spPr/>
        <p:txBody>
          <a:bodyPr/>
          <a:lstStyle/>
          <a:p>
            <a:fld id="{B92F3C48-507F-4435-8425-83E1FFF3BAE3}" type="slidenum">
              <a:rPr lang="en-US">
                <a:solidFill>
                  <a:prstClr val="black">
                    <a:tint val="75000"/>
                  </a:prstClr>
                </a:solidFill>
                <a:latin typeface="Calibri" panose="020F0502020204030204"/>
              </a:rPr>
              <a:pPr/>
              <a:t>23</a:t>
            </a:fld>
            <a:endParaRPr lang="en-US">
              <a:solidFill>
                <a:prstClr val="black">
                  <a:tint val="75000"/>
                </a:prstClr>
              </a:solidFill>
              <a:latin typeface="Calibri" panose="020F0502020204030204"/>
            </a:endParaRPr>
          </a:p>
        </p:txBody>
      </p:sp>
      <p:pic>
        <p:nvPicPr>
          <p:cNvPr id="6" name="Picture 5">
            <a:extLst>
              <a:ext uri="{FF2B5EF4-FFF2-40B4-BE49-F238E27FC236}">
                <a16:creationId xmlns:a16="http://schemas.microsoft.com/office/drawing/2014/main" id="{05DD12D3-6A5F-4443-A2D2-ACB852D177F7}"/>
              </a:ext>
            </a:extLst>
          </p:cNvPr>
          <p:cNvPicPr>
            <a:picLocks noChangeAspect="1"/>
          </p:cNvPicPr>
          <p:nvPr/>
        </p:nvPicPr>
        <p:blipFill>
          <a:blip r:embed="rId7"/>
          <a:stretch>
            <a:fillRect/>
          </a:stretch>
        </p:blipFill>
        <p:spPr>
          <a:xfrm>
            <a:off x="5105366" y="1727172"/>
            <a:ext cx="2295452" cy="2295452"/>
          </a:xfrm>
          <a:prstGeom prst="rect">
            <a:avLst/>
          </a:prstGeom>
        </p:spPr>
      </p:pic>
      <p:cxnSp>
        <p:nvCxnSpPr>
          <p:cNvPr id="12" name="Straight Connector 11">
            <a:extLst>
              <a:ext uri="{FF2B5EF4-FFF2-40B4-BE49-F238E27FC236}">
                <a16:creationId xmlns:a16="http://schemas.microsoft.com/office/drawing/2014/main" id="{A572038F-ED7B-4BD6-AFB7-D614406DC97F}"/>
              </a:ext>
            </a:extLst>
          </p:cNvPr>
          <p:cNvCxnSpPr>
            <a:cxnSpLocks/>
          </p:cNvCxnSpPr>
          <p:nvPr/>
        </p:nvCxnSpPr>
        <p:spPr>
          <a:xfrm>
            <a:off x="3611835" y="912958"/>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9B95755-7778-40E1-9C5B-060A9B00A46F}"/>
              </a:ext>
            </a:extLst>
          </p:cNvPr>
          <p:cNvSpPr txBox="1"/>
          <p:nvPr/>
        </p:nvSpPr>
        <p:spPr>
          <a:xfrm>
            <a:off x="7543800" y="3091543"/>
            <a:ext cx="2495550" cy="553998"/>
          </a:xfrm>
          <a:prstGeom prst="rect">
            <a:avLst/>
          </a:prstGeom>
          <a:noFill/>
        </p:spPr>
        <p:txBody>
          <a:bodyPr wrap="square" rtlCol="0">
            <a:spAutoFit/>
          </a:bodyPr>
          <a:lstStyle/>
          <a:p>
            <a:pPr algn="ctr"/>
            <a:r>
              <a:rPr lang="en-ZA" sz="1500" b="1" dirty="0">
                <a:solidFill>
                  <a:prstClr val="white"/>
                </a:solidFill>
                <a:latin typeface="Calibri" panose="020F0502020204030204"/>
              </a:rPr>
              <a:t>The good that researcher can do in the world (Reed, 2018).</a:t>
            </a:r>
          </a:p>
        </p:txBody>
      </p:sp>
      <p:sp>
        <p:nvSpPr>
          <p:cNvPr id="14" name="TextBox 13">
            <a:extLst>
              <a:ext uri="{FF2B5EF4-FFF2-40B4-BE49-F238E27FC236}">
                <a16:creationId xmlns:a16="http://schemas.microsoft.com/office/drawing/2014/main" id="{5E7933A4-1266-4020-88C2-0F8F4FCF6AC8}"/>
              </a:ext>
            </a:extLst>
          </p:cNvPr>
          <p:cNvSpPr txBox="1"/>
          <p:nvPr/>
        </p:nvSpPr>
        <p:spPr>
          <a:xfrm>
            <a:off x="6829690" y="1294597"/>
            <a:ext cx="3413769" cy="1015663"/>
          </a:xfrm>
          <a:prstGeom prst="rect">
            <a:avLst/>
          </a:prstGeom>
          <a:noFill/>
        </p:spPr>
        <p:txBody>
          <a:bodyPr wrap="square">
            <a:spAutoFit/>
          </a:bodyPr>
          <a:lstStyle/>
          <a:p>
            <a:pPr algn="ctr"/>
            <a:r>
              <a:rPr lang="en-GB" sz="1500" b="1" dirty="0">
                <a:solidFill>
                  <a:prstClr val="white"/>
                </a:solidFill>
                <a:latin typeface="Calibri" panose="020F0502020204030204"/>
                <a:ea typeface="Calibri" panose="020F0502020204030204" pitchFamily="34" charset="0"/>
              </a:rPr>
              <a:t>A recorded or otherwise auditable occasion of influence from academic research on another actor or organisation (LSE, 2011</a:t>
            </a:r>
            <a:r>
              <a:rPr lang="en-GB" sz="1400" dirty="0">
                <a:solidFill>
                  <a:prstClr val="white"/>
                </a:solidFill>
                <a:latin typeface="Calibri" panose="020F0502020204030204"/>
                <a:ea typeface="Calibri" panose="020F0502020204030204" pitchFamily="34" charset="0"/>
              </a:rPr>
              <a:t>).</a:t>
            </a:r>
            <a:endParaRPr lang="en-US" sz="1400" dirty="0">
              <a:solidFill>
                <a:prstClr val="white"/>
              </a:solidFill>
              <a:latin typeface="Calibri" panose="020F0502020204030204"/>
              <a:cs typeface="Calibri" panose="020F0502020204030204" pitchFamily="34" charset="0"/>
            </a:endParaRPr>
          </a:p>
        </p:txBody>
      </p:sp>
      <p:sp>
        <p:nvSpPr>
          <p:cNvPr id="16" name="TextBox 15">
            <a:extLst>
              <a:ext uri="{FF2B5EF4-FFF2-40B4-BE49-F238E27FC236}">
                <a16:creationId xmlns:a16="http://schemas.microsoft.com/office/drawing/2014/main" id="{57837807-A9B7-4412-9E50-EE558F25FC30}"/>
              </a:ext>
            </a:extLst>
          </p:cNvPr>
          <p:cNvSpPr txBox="1"/>
          <p:nvPr/>
        </p:nvSpPr>
        <p:spPr>
          <a:xfrm>
            <a:off x="2103385" y="1294597"/>
            <a:ext cx="3230617" cy="1015663"/>
          </a:xfrm>
          <a:prstGeom prst="rect">
            <a:avLst/>
          </a:prstGeom>
          <a:noFill/>
        </p:spPr>
        <p:txBody>
          <a:bodyPr wrap="square">
            <a:spAutoFit/>
          </a:bodyPr>
          <a:lstStyle/>
          <a:p>
            <a:pPr algn="ctr"/>
            <a:r>
              <a:rPr lang="en-GB" sz="1500" b="1" dirty="0">
                <a:solidFill>
                  <a:prstClr val="white"/>
                </a:solidFill>
                <a:latin typeface="Calibri" panose="020F0502020204030204"/>
                <a:ea typeface="Calibri" panose="020F0502020204030204" pitchFamily="34" charset="0"/>
              </a:rPr>
              <a:t>Change or benefit to the economy, society, culture, public policy or services, health, the environment or quality of life (UKREF, 2014).</a:t>
            </a:r>
            <a:endParaRPr lang="en-US" sz="1500" b="1" dirty="0">
              <a:solidFill>
                <a:prstClr val="white"/>
              </a:solidFill>
              <a:latin typeface="Calibri" panose="020F0502020204030204"/>
              <a:cs typeface="Calibri" panose="020F0502020204030204" pitchFamily="34" charset="0"/>
            </a:endParaRPr>
          </a:p>
        </p:txBody>
      </p:sp>
      <p:sp>
        <p:nvSpPr>
          <p:cNvPr id="18" name="TextBox 17">
            <a:extLst>
              <a:ext uri="{FF2B5EF4-FFF2-40B4-BE49-F238E27FC236}">
                <a16:creationId xmlns:a16="http://schemas.microsoft.com/office/drawing/2014/main" id="{20E20FCB-361B-413D-95BE-DEDDE0C339DF}"/>
              </a:ext>
            </a:extLst>
          </p:cNvPr>
          <p:cNvSpPr txBox="1"/>
          <p:nvPr/>
        </p:nvSpPr>
        <p:spPr>
          <a:xfrm>
            <a:off x="2137932" y="3065350"/>
            <a:ext cx="2947805" cy="553998"/>
          </a:xfrm>
          <a:prstGeom prst="rect">
            <a:avLst/>
          </a:prstGeom>
          <a:noFill/>
        </p:spPr>
        <p:txBody>
          <a:bodyPr wrap="square">
            <a:spAutoFit/>
          </a:bodyPr>
          <a:lstStyle/>
          <a:p>
            <a:pPr algn="ctr"/>
            <a:r>
              <a:rPr lang="en-GB" sz="1500" b="1" dirty="0">
                <a:solidFill>
                  <a:prstClr val="white"/>
                </a:solidFill>
                <a:latin typeface="Calibri" panose="020F0502020204030204"/>
                <a:ea typeface="Calibri" panose="020F0502020204030204" pitchFamily="34" charset="0"/>
              </a:rPr>
              <a:t>Health, social, economic </a:t>
            </a:r>
          </a:p>
          <a:p>
            <a:pPr algn="ctr"/>
            <a:r>
              <a:rPr lang="en-GB" sz="1500" b="1" dirty="0">
                <a:solidFill>
                  <a:prstClr val="white"/>
                </a:solidFill>
                <a:latin typeface="Calibri" panose="020F0502020204030204"/>
                <a:ea typeface="Calibri" panose="020F0502020204030204" pitchFamily="34" charset="0"/>
              </a:rPr>
              <a:t>(CAHS, 2009).</a:t>
            </a:r>
            <a:endParaRPr lang="en-US" sz="1500" b="1" dirty="0">
              <a:solidFill>
                <a:prstClr val="white"/>
              </a:solidFill>
              <a:latin typeface="Calibri" panose="020F0502020204030204"/>
              <a:cs typeface="Calibri" panose="020F0502020204030204" pitchFamily="34" charset="0"/>
            </a:endParaRPr>
          </a:p>
        </p:txBody>
      </p:sp>
      <p:sp>
        <p:nvSpPr>
          <p:cNvPr id="20" name="TextBox 19">
            <a:extLst>
              <a:ext uri="{FF2B5EF4-FFF2-40B4-BE49-F238E27FC236}">
                <a16:creationId xmlns:a16="http://schemas.microsoft.com/office/drawing/2014/main" id="{50B6DDD5-DE7D-4F7D-9046-2AF6563A8C1A}"/>
              </a:ext>
            </a:extLst>
          </p:cNvPr>
          <p:cNvSpPr txBox="1"/>
          <p:nvPr/>
        </p:nvSpPr>
        <p:spPr>
          <a:xfrm>
            <a:off x="3917810" y="4130067"/>
            <a:ext cx="4572000" cy="1846659"/>
          </a:xfrm>
          <a:prstGeom prst="rect">
            <a:avLst/>
          </a:prstGeom>
          <a:noFill/>
        </p:spPr>
        <p:txBody>
          <a:bodyPr wrap="square">
            <a:spAutoFit/>
          </a:bodyPr>
          <a:lstStyle/>
          <a:p>
            <a:pPr algn="ctr">
              <a:defRPr/>
            </a:pPr>
            <a:r>
              <a:rPr lang="en-GB" sz="1900" b="1" dirty="0">
                <a:solidFill>
                  <a:prstClr val="white"/>
                </a:solidFill>
                <a:latin typeface="Calibri" panose="020F0502020204030204" pitchFamily="34" charset="0"/>
                <a:ea typeface="Calibri" panose="020F0502020204030204" pitchFamily="34" charset="0"/>
                <a:cs typeface="Calibri" panose="020F0502020204030204" pitchFamily="34" charset="0"/>
              </a:rPr>
              <a:t>The planned (and unintended) positive benefit, influence or effect that can be demonstrated to be as a result of the HSRC’s research activities on South African society, the SADC region, continental Africa and globally. </a:t>
            </a:r>
          </a:p>
        </p:txBody>
      </p:sp>
    </p:spTree>
    <p:extLst>
      <p:ext uri="{BB962C8B-B14F-4D97-AF65-F5344CB8AC3E}">
        <p14:creationId xmlns:p14="http://schemas.microsoft.com/office/powerpoint/2010/main" val="11319290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C3406489-5597-43A4-B42F-CCC9FE8B833A}"/>
              </a:ext>
            </a:extLst>
          </p:cNvPr>
          <p:cNvSpPr txBox="1"/>
          <p:nvPr/>
        </p:nvSpPr>
        <p:spPr>
          <a:xfrm>
            <a:off x="1524000" y="546555"/>
            <a:ext cx="9144000" cy="677108"/>
          </a:xfrm>
          <a:prstGeom prst="rect">
            <a:avLst/>
          </a:prstGeom>
          <a:noFill/>
        </p:spPr>
        <p:txBody>
          <a:bodyPr wrap="square" lIns="27000" tIns="0" rIns="27000" bIns="0" rtlCol="0">
            <a:spAutoFit/>
          </a:bodyPr>
          <a:lstStyle/>
          <a:p>
            <a:pPr algn="ctr" defTabSz="685715">
              <a:defRPr/>
            </a:pPr>
            <a:r>
              <a:rPr lang="en-US" sz="4400" b="1" dirty="0">
                <a:solidFill>
                  <a:prstClr val="white"/>
                </a:solidFill>
                <a:latin typeface="Calibri" panose="020F0502020204030204"/>
              </a:rPr>
              <a:t>The HSRC Theory of Change</a:t>
            </a:r>
          </a:p>
        </p:txBody>
      </p:sp>
      <p:sp>
        <p:nvSpPr>
          <p:cNvPr id="6" name="TextBox 5">
            <a:extLst>
              <a:ext uri="{FF2B5EF4-FFF2-40B4-BE49-F238E27FC236}">
                <a16:creationId xmlns:a16="http://schemas.microsoft.com/office/drawing/2014/main" id="{B3BF31D6-FDEB-4389-9ACC-985E3260EF59}"/>
              </a:ext>
            </a:extLst>
          </p:cNvPr>
          <p:cNvSpPr txBox="1"/>
          <p:nvPr/>
        </p:nvSpPr>
        <p:spPr>
          <a:xfrm>
            <a:off x="5346971" y="1578940"/>
            <a:ext cx="4914169" cy="3599225"/>
          </a:xfrm>
          <a:prstGeom prst="rect">
            <a:avLst/>
          </a:prstGeom>
          <a:noFill/>
        </p:spPr>
        <p:txBody>
          <a:bodyPr wrap="square" rtlCol="0" anchor="ctr">
            <a:spAutoFit/>
          </a:bodyPr>
          <a:lstStyle/>
          <a:p>
            <a:pPr algn="just" defTabSz="685715"/>
            <a:r>
              <a:rPr lang="en-ZA" altLang="ko-KR" sz="2800" dirty="0">
                <a:solidFill>
                  <a:prstClr val="white"/>
                </a:solidFill>
                <a:latin typeface="Calibri" panose="020F0502020204030204"/>
                <a:ea typeface="맑은 고딕" panose="020B0503020000020004" pitchFamily="34" charset="-127"/>
                <a:cs typeface="Arial" pitchFamily="34" charset="0"/>
              </a:rPr>
              <a:t>The HSRC has to undertake basic and applied research that will contribute to the </a:t>
            </a:r>
            <a:r>
              <a:rPr lang="en-ZA" altLang="ko-KR" sz="2800" b="1" dirty="0">
                <a:solidFill>
                  <a:srgbClr val="C3B69B"/>
                </a:solidFill>
                <a:latin typeface="Calibri" panose="020F0502020204030204"/>
                <a:ea typeface="맑은 고딕" panose="020B0503020000020004" pitchFamily="34" charset="-127"/>
                <a:cs typeface="Arial" pitchFamily="34" charset="0"/>
              </a:rPr>
              <a:t>alleviation of poverty, a reduction in the inequality gap </a:t>
            </a:r>
            <a:r>
              <a:rPr lang="en-ZA" altLang="ko-KR" sz="2800" dirty="0">
                <a:solidFill>
                  <a:prstClr val="white"/>
                </a:solidFill>
                <a:latin typeface="Calibri" panose="020F0502020204030204"/>
                <a:ea typeface="맑은 고딕" panose="020B0503020000020004" pitchFamily="34" charset="-127"/>
                <a:cs typeface="Arial" pitchFamily="34" charset="0"/>
              </a:rPr>
              <a:t>and the </a:t>
            </a:r>
            <a:r>
              <a:rPr lang="en-ZA" altLang="ko-KR" sz="2800" b="1" dirty="0">
                <a:solidFill>
                  <a:srgbClr val="C3B69B"/>
                </a:solidFill>
                <a:latin typeface="Calibri" panose="020F0502020204030204"/>
                <a:ea typeface="맑은 고딕" panose="020B0503020000020004" pitchFamily="34" charset="-127"/>
                <a:cs typeface="Arial" pitchFamily="34" charset="0"/>
              </a:rPr>
              <a:t>expansion of decent work opportunities </a:t>
            </a:r>
            <a:r>
              <a:rPr lang="en-ZA" altLang="ko-KR" sz="2800" dirty="0">
                <a:solidFill>
                  <a:prstClr val="white"/>
                </a:solidFill>
                <a:latin typeface="Calibri" panose="020F0502020204030204"/>
                <a:ea typeface="맑은 고딕" panose="020B0503020000020004" pitchFamily="34" charset="-127"/>
                <a:cs typeface="Arial" pitchFamily="34" charset="0"/>
              </a:rPr>
              <a:t>for the majority of its people.</a:t>
            </a:r>
            <a:endParaRPr lang="ko-KR" altLang="en-US" sz="2800" dirty="0">
              <a:solidFill>
                <a:prstClr val="white"/>
              </a:solidFill>
              <a:latin typeface="Calibri" panose="020F0502020204030204"/>
              <a:ea typeface="맑은 고딕" panose="020B0503020000020004" pitchFamily="34" charset="-127"/>
              <a:cs typeface="Arial" pitchFamily="34" charset="0"/>
            </a:endParaRPr>
          </a:p>
        </p:txBody>
      </p:sp>
      <p:grpSp>
        <p:nvGrpSpPr>
          <p:cNvPr id="3" name="Group 2">
            <a:extLst>
              <a:ext uri="{FF2B5EF4-FFF2-40B4-BE49-F238E27FC236}">
                <a16:creationId xmlns:a16="http://schemas.microsoft.com/office/drawing/2014/main" id="{F71A74DB-79F3-4954-AD9C-AEC7B960F609}"/>
              </a:ext>
            </a:extLst>
          </p:cNvPr>
          <p:cNvGrpSpPr/>
          <p:nvPr/>
        </p:nvGrpSpPr>
        <p:grpSpPr>
          <a:xfrm>
            <a:off x="2146846" y="1797980"/>
            <a:ext cx="2932012" cy="3114396"/>
            <a:chOff x="759967" y="1621599"/>
            <a:chExt cx="2581656" cy="2578314"/>
          </a:xfrm>
        </p:grpSpPr>
        <p:grpSp>
          <p:nvGrpSpPr>
            <p:cNvPr id="11" name="Group 10">
              <a:extLst>
                <a:ext uri="{FF2B5EF4-FFF2-40B4-BE49-F238E27FC236}">
                  <a16:creationId xmlns:a16="http://schemas.microsoft.com/office/drawing/2014/main" id="{FC1B7BFB-6103-4204-B393-1FB4A0ECE216}"/>
                </a:ext>
              </a:extLst>
            </p:cNvPr>
            <p:cNvGrpSpPr/>
            <p:nvPr/>
          </p:nvGrpSpPr>
          <p:grpSpPr>
            <a:xfrm>
              <a:off x="759967" y="1621599"/>
              <a:ext cx="441814" cy="441814"/>
              <a:chOff x="1582614" y="2839915"/>
              <a:chExt cx="589085" cy="589085"/>
            </a:xfrm>
          </p:grpSpPr>
          <p:sp>
            <p:nvSpPr>
              <p:cNvPr id="9" name="Rectangle 8">
                <a:extLst>
                  <a:ext uri="{FF2B5EF4-FFF2-40B4-BE49-F238E27FC236}">
                    <a16:creationId xmlns:a16="http://schemas.microsoft.com/office/drawing/2014/main" id="{DBC63653-33AF-440C-B443-C3007D7E6EC2}"/>
                  </a:ext>
                </a:extLst>
              </p:cNvPr>
              <p:cNvSpPr/>
              <p:nvPr/>
            </p:nvSpPr>
            <p:spPr>
              <a:xfrm>
                <a:off x="1582614" y="2839915"/>
                <a:ext cx="137160" cy="589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US" sz="1350" dirty="0">
                  <a:solidFill>
                    <a:prstClr val="white"/>
                  </a:solidFill>
                  <a:latin typeface="Arial"/>
                </a:endParaRPr>
              </a:p>
            </p:txBody>
          </p:sp>
          <p:sp>
            <p:nvSpPr>
              <p:cNvPr id="10" name="Rectangle 9">
                <a:extLst>
                  <a:ext uri="{FF2B5EF4-FFF2-40B4-BE49-F238E27FC236}">
                    <a16:creationId xmlns:a16="http://schemas.microsoft.com/office/drawing/2014/main" id="{7FA9E66F-C786-47CE-839E-48CA6D2D68CE}"/>
                  </a:ext>
                </a:extLst>
              </p:cNvPr>
              <p:cNvSpPr/>
              <p:nvPr/>
            </p:nvSpPr>
            <p:spPr>
              <a:xfrm rot="5400000">
                <a:off x="1808577" y="2613952"/>
                <a:ext cx="137160" cy="589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US" sz="1350" dirty="0">
                  <a:solidFill>
                    <a:prstClr val="white"/>
                  </a:solidFill>
                  <a:latin typeface="Arial"/>
                </a:endParaRPr>
              </a:p>
            </p:txBody>
          </p:sp>
        </p:grpSp>
        <p:grpSp>
          <p:nvGrpSpPr>
            <p:cNvPr id="12" name="Group 11">
              <a:extLst>
                <a:ext uri="{FF2B5EF4-FFF2-40B4-BE49-F238E27FC236}">
                  <a16:creationId xmlns:a16="http://schemas.microsoft.com/office/drawing/2014/main" id="{9A0C07F4-8744-4FD2-A4C9-F34903835141}"/>
                </a:ext>
              </a:extLst>
            </p:cNvPr>
            <p:cNvGrpSpPr/>
            <p:nvPr/>
          </p:nvGrpSpPr>
          <p:grpSpPr>
            <a:xfrm rot="5400000">
              <a:off x="2899809" y="1621599"/>
              <a:ext cx="441814" cy="441814"/>
              <a:chOff x="1582614" y="2839915"/>
              <a:chExt cx="589085" cy="589085"/>
            </a:xfrm>
          </p:grpSpPr>
          <p:sp>
            <p:nvSpPr>
              <p:cNvPr id="13" name="Rectangle 12">
                <a:extLst>
                  <a:ext uri="{FF2B5EF4-FFF2-40B4-BE49-F238E27FC236}">
                    <a16:creationId xmlns:a16="http://schemas.microsoft.com/office/drawing/2014/main" id="{1C875B88-9A15-4E2A-BD66-0E624DF23EF3}"/>
                  </a:ext>
                </a:extLst>
              </p:cNvPr>
              <p:cNvSpPr/>
              <p:nvPr/>
            </p:nvSpPr>
            <p:spPr>
              <a:xfrm>
                <a:off x="1582614" y="2839915"/>
                <a:ext cx="137160" cy="589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US" sz="1350" dirty="0">
                  <a:solidFill>
                    <a:prstClr val="white"/>
                  </a:solidFill>
                  <a:latin typeface="Arial"/>
                </a:endParaRPr>
              </a:p>
            </p:txBody>
          </p:sp>
          <p:sp>
            <p:nvSpPr>
              <p:cNvPr id="14" name="Rectangle 13">
                <a:extLst>
                  <a:ext uri="{FF2B5EF4-FFF2-40B4-BE49-F238E27FC236}">
                    <a16:creationId xmlns:a16="http://schemas.microsoft.com/office/drawing/2014/main" id="{F7C95865-457E-4F13-8AF5-1165DB71AEE0}"/>
                  </a:ext>
                </a:extLst>
              </p:cNvPr>
              <p:cNvSpPr/>
              <p:nvPr/>
            </p:nvSpPr>
            <p:spPr>
              <a:xfrm rot="5400000">
                <a:off x="1808577" y="2613952"/>
                <a:ext cx="137160" cy="589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US" sz="1350" dirty="0">
                  <a:solidFill>
                    <a:prstClr val="white"/>
                  </a:solidFill>
                  <a:latin typeface="Arial"/>
                </a:endParaRPr>
              </a:p>
            </p:txBody>
          </p:sp>
        </p:grpSp>
        <p:grpSp>
          <p:nvGrpSpPr>
            <p:cNvPr id="15" name="Group 14">
              <a:extLst>
                <a:ext uri="{FF2B5EF4-FFF2-40B4-BE49-F238E27FC236}">
                  <a16:creationId xmlns:a16="http://schemas.microsoft.com/office/drawing/2014/main" id="{0E250D89-5E15-4986-A3EC-7A0B040FC259}"/>
                </a:ext>
              </a:extLst>
            </p:cNvPr>
            <p:cNvGrpSpPr/>
            <p:nvPr/>
          </p:nvGrpSpPr>
          <p:grpSpPr>
            <a:xfrm flipV="1">
              <a:off x="759967" y="3758099"/>
              <a:ext cx="441814" cy="441814"/>
              <a:chOff x="1582614" y="2839915"/>
              <a:chExt cx="589085" cy="589085"/>
            </a:xfrm>
          </p:grpSpPr>
          <p:sp>
            <p:nvSpPr>
              <p:cNvPr id="16" name="Rectangle 15">
                <a:extLst>
                  <a:ext uri="{FF2B5EF4-FFF2-40B4-BE49-F238E27FC236}">
                    <a16:creationId xmlns:a16="http://schemas.microsoft.com/office/drawing/2014/main" id="{575FE9D5-3800-4CC3-B62C-C6B96B13F1B8}"/>
                  </a:ext>
                </a:extLst>
              </p:cNvPr>
              <p:cNvSpPr/>
              <p:nvPr/>
            </p:nvSpPr>
            <p:spPr>
              <a:xfrm>
                <a:off x="1582614" y="2839915"/>
                <a:ext cx="137160" cy="589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US" sz="1350" dirty="0">
                  <a:solidFill>
                    <a:prstClr val="white"/>
                  </a:solidFill>
                  <a:latin typeface="Arial"/>
                </a:endParaRPr>
              </a:p>
            </p:txBody>
          </p:sp>
          <p:sp>
            <p:nvSpPr>
              <p:cNvPr id="17" name="Rectangle 16">
                <a:extLst>
                  <a:ext uri="{FF2B5EF4-FFF2-40B4-BE49-F238E27FC236}">
                    <a16:creationId xmlns:a16="http://schemas.microsoft.com/office/drawing/2014/main" id="{99A82CED-784D-41E8-9F27-D7B8F2A70B42}"/>
                  </a:ext>
                </a:extLst>
              </p:cNvPr>
              <p:cNvSpPr/>
              <p:nvPr/>
            </p:nvSpPr>
            <p:spPr>
              <a:xfrm rot="5400000">
                <a:off x="1808577" y="2613952"/>
                <a:ext cx="137160" cy="589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US" sz="1350" dirty="0">
                  <a:solidFill>
                    <a:prstClr val="white"/>
                  </a:solidFill>
                  <a:latin typeface="Arial"/>
                </a:endParaRPr>
              </a:p>
            </p:txBody>
          </p:sp>
        </p:grpSp>
        <p:grpSp>
          <p:nvGrpSpPr>
            <p:cNvPr id="18" name="Group 17">
              <a:extLst>
                <a:ext uri="{FF2B5EF4-FFF2-40B4-BE49-F238E27FC236}">
                  <a16:creationId xmlns:a16="http://schemas.microsoft.com/office/drawing/2014/main" id="{F9ECE2DF-48F9-40EB-87C1-DF24270DF8BC}"/>
                </a:ext>
              </a:extLst>
            </p:cNvPr>
            <p:cNvGrpSpPr/>
            <p:nvPr/>
          </p:nvGrpSpPr>
          <p:grpSpPr>
            <a:xfrm rot="16200000" flipV="1">
              <a:off x="2899809" y="3758099"/>
              <a:ext cx="441814" cy="441814"/>
              <a:chOff x="1582614" y="2839915"/>
              <a:chExt cx="589085" cy="589085"/>
            </a:xfrm>
          </p:grpSpPr>
          <p:sp>
            <p:nvSpPr>
              <p:cNvPr id="19" name="Rectangle 18">
                <a:extLst>
                  <a:ext uri="{FF2B5EF4-FFF2-40B4-BE49-F238E27FC236}">
                    <a16:creationId xmlns:a16="http://schemas.microsoft.com/office/drawing/2014/main" id="{BE728039-E046-493F-AC4B-DE66C9D9B2D6}"/>
                  </a:ext>
                </a:extLst>
              </p:cNvPr>
              <p:cNvSpPr/>
              <p:nvPr/>
            </p:nvSpPr>
            <p:spPr>
              <a:xfrm>
                <a:off x="1582614" y="2839915"/>
                <a:ext cx="137160" cy="589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US" sz="1350" dirty="0">
                  <a:solidFill>
                    <a:prstClr val="white"/>
                  </a:solidFill>
                  <a:latin typeface="Arial"/>
                </a:endParaRPr>
              </a:p>
            </p:txBody>
          </p:sp>
          <p:sp>
            <p:nvSpPr>
              <p:cNvPr id="20" name="Rectangle 19">
                <a:extLst>
                  <a:ext uri="{FF2B5EF4-FFF2-40B4-BE49-F238E27FC236}">
                    <a16:creationId xmlns:a16="http://schemas.microsoft.com/office/drawing/2014/main" id="{E5FF8D4E-D02B-4C7A-B042-DD28BE662AD5}"/>
                  </a:ext>
                </a:extLst>
              </p:cNvPr>
              <p:cNvSpPr/>
              <p:nvPr/>
            </p:nvSpPr>
            <p:spPr>
              <a:xfrm rot="5400000">
                <a:off x="1808577" y="2613952"/>
                <a:ext cx="137160" cy="5890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15">
                  <a:defRPr/>
                </a:pPr>
                <a:endParaRPr lang="en-US" sz="1350" dirty="0">
                  <a:solidFill>
                    <a:prstClr val="white"/>
                  </a:solidFill>
                  <a:latin typeface="Arial"/>
                </a:endParaRPr>
              </a:p>
            </p:txBody>
          </p:sp>
        </p:grpSp>
        <p:sp>
          <p:nvSpPr>
            <p:cNvPr id="28" name="Freeform 18">
              <a:extLst>
                <a:ext uri="{FF2B5EF4-FFF2-40B4-BE49-F238E27FC236}">
                  <a16:creationId xmlns:a16="http://schemas.microsoft.com/office/drawing/2014/main" id="{E32B7BBE-2267-4F81-996E-066674EA9546}"/>
                </a:ext>
              </a:extLst>
            </p:cNvPr>
            <p:cNvSpPr>
              <a:spLocks/>
            </p:cNvSpPr>
            <p:nvPr/>
          </p:nvSpPr>
          <p:spPr bwMode="auto">
            <a:xfrm>
              <a:off x="955285" y="2063412"/>
              <a:ext cx="1553240" cy="1813947"/>
            </a:xfrm>
            <a:custGeom>
              <a:avLst/>
              <a:gdLst/>
              <a:ahLst/>
              <a:cxnLst/>
              <a:rect l="l" t="t" r="r" b="b"/>
              <a:pathLst>
                <a:path w="3243960" h="3618138">
                  <a:moveTo>
                    <a:pt x="1764407" y="0"/>
                  </a:moveTo>
                  <a:lnTo>
                    <a:pt x="1913381" y="1203"/>
                  </a:lnTo>
                  <a:lnTo>
                    <a:pt x="2053042" y="12022"/>
                  </a:lnTo>
                  <a:lnTo>
                    <a:pt x="2185723" y="30056"/>
                  </a:lnTo>
                  <a:lnTo>
                    <a:pt x="2312583" y="56506"/>
                  </a:lnTo>
                  <a:lnTo>
                    <a:pt x="2433624" y="88967"/>
                  </a:lnTo>
                  <a:lnTo>
                    <a:pt x="2545354" y="131046"/>
                  </a:lnTo>
                  <a:lnTo>
                    <a:pt x="2653593" y="176731"/>
                  </a:lnTo>
                  <a:lnTo>
                    <a:pt x="2752521" y="230833"/>
                  </a:lnTo>
                  <a:lnTo>
                    <a:pt x="2763561" y="238103"/>
                  </a:lnTo>
                  <a:lnTo>
                    <a:pt x="2764776" y="236609"/>
                  </a:lnTo>
                  <a:cubicBezTo>
                    <a:pt x="3318761" y="687035"/>
                    <a:pt x="3404939" y="1500322"/>
                    <a:pt x="2957653" y="2056846"/>
                  </a:cubicBezTo>
                  <a:lnTo>
                    <a:pt x="2794867" y="1926012"/>
                  </a:lnTo>
                  <a:cubicBezTo>
                    <a:pt x="3170184" y="1459033"/>
                    <a:pt x="3097872" y="776605"/>
                    <a:pt x="2633024" y="398652"/>
                  </a:cubicBezTo>
                  <a:lnTo>
                    <a:pt x="2635535" y="395564"/>
                  </a:lnTo>
                  <a:cubicBezTo>
                    <a:pt x="2458856" y="294299"/>
                    <a:pt x="2250796" y="159602"/>
                    <a:pt x="1912553" y="162771"/>
                  </a:cubicBezTo>
                  <a:cubicBezTo>
                    <a:pt x="1018501" y="171149"/>
                    <a:pt x="651082" y="745769"/>
                    <a:pt x="651082" y="1464934"/>
                  </a:cubicBezTo>
                  <a:cubicBezTo>
                    <a:pt x="651082" y="2065638"/>
                    <a:pt x="1045124" y="2571338"/>
                    <a:pt x="1581345" y="2720212"/>
                  </a:cubicBezTo>
                  <a:cubicBezTo>
                    <a:pt x="2189761" y="2865156"/>
                    <a:pt x="2916596" y="3085457"/>
                    <a:pt x="3019039" y="3381117"/>
                  </a:cubicBezTo>
                  <a:lnTo>
                    <a:pt x="3030682" y="3420409"/>
                  </a:lnTo>
                  <a:lnTo>
                    <a:pt x="3049304" y="3486532"/>
                  </a:lnTo>
                  <a:lnTo>
                    <a:pt x="3067926" y="3553859"/>
                  </a:lnTo>
                  <a:lnTo>
                    <a:pt x="3088874" y="3615173"/>
                  </a:lnTo>
                  <a:lnTo>
                    <a:pt x="3090086" y="3618138"/>
                  </a:lnTo>
                  <a:lnTo>
                    <a:pt x="1487028" y="3618138"/>
                  </a:lnTo>
                  <a:lnTo>
                    <a:pt x="1482754" y="3594736"/>
                  </a:lnTo>
                  <a:lnTo>
                    <a:pt x="1471115" y="3529813"/>
                  </a:lnTo>
                  <a:lnTo>
                    <a:pt x="1458312" y="3466094"/>
                  </a:lnTo>
                  <a:lnTo>
                    <a:pt x="1443182" y="3404780"/>
                  </a:lnTo>
                  <a:lnTo>
                    <a:pt x="1428052" y="3345869"/>
                  </a:lnTo>
                  <a:lnTo>
                    <a:pt x="1409430" y="3294173"/>
                  </a:lnTo>
                  <a:lnTo>
                    <a:pt x="1389645" y="3249689"/>
                  </a:lnTo>
                  <a:lnTo>
                    <a:pt x="1368696" y="3214824"/>
                  </a:lnTo>
                  <a:lnTo>
                    <a:pt x="1345419" y="3193183"/>
                  </a:lnTo>
                  <a:lnTo>
                    <a:pt x="1319814" y="3182363"/>
                  </a:lnTo>
                  <a:lnTo>
                    <a:pt x="1290717" y="3177554"/>
                  </a:lnTo>
                  <a:lnTo>
                    <a:pt x="1256965" y="3179958"/>
                  </a:lnTo>
                  <a:lnTo>
                    <a:pt x="1223213" y="3184767"/>
                  </a:lnTo>
                  <a:lnTo>
                    <a:pt x="1191790" y="3193183"/>
                  </a:lnTo>
                  <a:lnTo>
                    <a:pt x="1161529" y="3201598"/>
                  </a:lnTo>
                  <a:lnTo>
                    <a:pt x="1133597" y="3210015"/>
                  </a:lnTo>
                  <a:lnTo>
                    <a:pt x="1112647" y="3217228"/>
                  </a:lnTo>
                  <a:lnTo>
                    <a:pt x="1062602" y="3234059"/>
                  </a:lnTo>
                  <a:lnTo>
                    <a:pt x="1005573" y="3249689"/>
                  </a:lnTo>
                  <a:lnTo>
                    <a:pt x="941560" y="3262914"/>
                  </a:lnTo>
                  <a:lnTo>
                    <a:pt x="874056" y="3271330"/>
                  </a:lnTo>
                  <a:lnTo>
                    <a:pt x="806552" y="3278543"/>
                  </a:lnTo>
                  <a:lnTo>
                    <a:pt x="737886" y="3280948"/>
                  </a:lnTo>
                  <a:lnTo>
                    <a:pt x="672709" y="3276139"/>
                  </a:lnTo>
                  <a:lnTo>
                    <a:pt x="611025" y="3265318"/>
                  </a:lnTo>
                  <a:lnTo>
                    <a:pt x="577273" y="3256902"/>
                  </a:lnTo>
                  <a:lnTo>
                    <a:pt x="543521" y="3241274"/>
                  </a:lnTo>
                  <a:lnTo>
                    <a:pt x="509769" y="3223240"/>
                  </a:lnTo>
                  <a:lnTo>
                    <a:pt x="480674" y="3201598"/>
                  </a:lnTo>
                  <a:lnTo>
                    <a:pt x="450413" y="3175149"/>
                  </a:lnTo>
                  <a:lnTo>
                    <a:pt x="427136" y="3147498"/>
                  </a:lnTo>
                  <a:lnTo>
                    <a:pt x="410841" y="3112633"/>
                  </a:lnTo>
                  <a:lnTo>
                    <a:pt x="398039" y="3072958"/>
                  </a:lnTo>
                  <a:lnTo>
                    <a:pt x="393384" y="3029676"/>
                  </a:lnTo>
                  <a:lnTo>
                    <a:pt x="398039" y="2981586"/>
                  </a:lnTo>
                  <a:lnTo>
                    <a:pt x="403859" y="2947924"/>
                  </a:lnTo>
                  <a:lnTo>
                    <a:pt x="412006" y="2910653"/>
                  </a:lnTo>
                  <a:lnTo>
                    <a:pt x="421316" y="2872182"/>
                  </a:lnTo>
                  <a:lnTo>
                    <a:pt x="424808" y="2834911"/>
                  </a:lnTo>
                  <a:lnTo>
                    <a:pt x="424808" y="2795237"/>
                  </a:lnTo>
                  <a:lnTo>
                    <a:pt x="414333" y="2760372"/>
                  </a:lnTo>
                  <a:lnTo>
                    <a:pt x="403859" y="2741136"/>
                  </a:lnTo>
                  <a:lnTo>
                    <a:pt x="385236" y="2723102"/>
                  </a:lnTo>
                  <a:lnTo>
                    <a:pt x="365452" y="2709877"/>
                  </a:lnTo>
                  <a:lnTo>
                    <a:pt x="344502" y="2699057"/>
                  </a:lnTo>
                  <a:lnTo>
                    <a:pt x="323552" y="2683427"/>
                  </a:lnTo>
                  <a:lnTo>
                    <a:pt x="307259" y="2666596"/>
                  </a:lnTo>
                  <a:lnTo>
                    <a:pt x="294455" y="2644956"/>
                  </a:lnTo>
                  <a:lnTo>
                    <a:pt x="289800" y="2620911"/>
                  </a:lnTo>
                  <a:lnTo>
                    <a:pt x="292128" y="2596866"/>
                  </a:lnTo>
                  <a:lnTo>
                    <a:pt x="300275" y="2574023"/>
                  </a:lnTo>
                  <a:lnTo>
                    <a:pt x="310750" y="2554786"/>
                  </a:lnTo>
                  <a:lnTo>
                    <a:pt x="317733" y="2535551"/>
                  </a:lnTo>
                  <a:lnTo>
                    <a:pt x="283982" y="2511505"/>
                  </a:lnTo>
                  <a:lnTo>
                    <a:pt x="260703" y="2487461"/>
                  </a:lnTo>
                  <a:lnTo>
                    <a:pt x="247901" y="2463416"/>
                  </a:lnTo>
                  <a:lnTo>
                    <a:pt x="245574" y="2436966"/>
                  </a:lnTo>
                  <a:lnTo>
                    <a:pt x="249066" y="2412922"/>
                  </a:lnTo>
                  <a:lnTo>
                    <a:pt x="258376" y="2386471"/>
                  </a:lnTo>
                  <a:lnTo>
                    <a:pt x="271178" y="2360023"/>
                  </a:lnTo>
                  <a:lnTo>
                    <a:pt x="285145" y="2333572"/>
                  </a:lnTo>
                  <a:lnTo>
                    <a:pt x="297948" y="2305921"/>
                  </a:lnTo>
                  <a:lnTo>
                    <a:pt x="310750" y="2279471"/>
                  </a:lnTo>
                  <a:lnTo>
                    <a:pt x="317733" y="2250617"/>
                  </a:lnTo>
                  <a:lnTo>
                    <a:pt x="294455" y="2228976"/>
                  </a:lnTo>
                  <a:lnTo>
                    <a:pt x="261868" y="2212145"/>
                  </a:lnTo>
                  <a:lnTo>
                    <a:pt x="225789" y="2196515"/>
                  </a:lnTo>
                  <a:lnTo>
                    <a:pt x="188545" y="2183290"/>
                  </a:lnTo>
                  <a:lnTo>
                    <a:pt x="150138" y="2170066"/>
                  </a:lnTo>
                  <a:lnTo>
                    <a:pt x="111731" y="2156841"/>
                  </a:lnTo>
                  <a:lnTo>
                    <a:pt x="75651" y="2141212"/>
                  </a:lnTo>
                  <a:lnTo>
                    <a:pt x="46554" y="2124381"/>
                  </a:lnTo>
                  <a:lnTo>
                    <a:pt x="20950" y="2100335"/>
                  </a:lnTo>
                  <a:lnTo>
                    <a:pt x="5820" y="2071482"/>
                  </a:lnTo>
                  <a:lnTo>
                    <a:pt x="0" y="2041425"/>
                  </a:lnTo>
                  <a:lnTo>
                    <a:pt x="4656" y="2012571"/>
                  </a:lnTo>
                  <a:lnTo>
                    <a:pt x="15130" y="1986122"/>
                  </a:lnTo>
                  <a:lnTo>
                    <a:pt x="31424" y="1964481"/>
                  </a:lnTo>
                  <a:lnTo>
                    <a:pt x="51209" y="1942841"/>
                  </a:lnTo>
                  <a:lnTo>
                    <a:pt x="69831" y="1924807"/>
                  </a:lnTo>
                  <a:lnTo>
                    <a:pt x="84961" y="1910380"/>
                  </a:lnTo>
                  <a:lnTo>
                    <a:pt x="129188" y="1857481"/>
                  </a:lnTo>
                  <a:lnTo>
                    <a:pt x="175742" y="1809391"/>
                  </a:lnTo>
                  <a:lnTo>
                    <a:pt x="222297" y="1761301"/>
                  </a:lnTo>
                  <a:lnTo>
                    <a:pt x="266523" y="1708402"/>
                  </a:lnTo>
                  <a:lnTo>
                    <a:pt x="308423" y="1656704"/>
                  </a:lnTo>
                  <a:lnTo>
                    <a:pt x="346829" y="1597795"/>
                  </a:lnTo>
                  <a:lnTo>
                    <a:pt x="378254" y="1534075"/>
                  </a:lnTo>
                  <a:lnTo>
                    <a:pt x="395711" y="1481176"/>
                  </a:lnTo>
                  <a:lnTo>
                    <a:pt x="401531" y="1429479"/>
                  </a:lnTo>
                  <a:lnTo>
                    <a:pt x="401531" y="1374175"/>
                  </a:lnTo>
                  <a:cubicBezTo>
                    <a:pt x="401143" y="1354538"/>
                    <a:pt x="400754" y="1334901"/>
                    <a:pt x="400367" y="1315264"/>
                  </a:cubicBezTo>
                  <a:lnTo>
                    <a:pt x="398039" y="1256355"/>
                  </a:lnTo>
                  <a:lnTo>
                    <a:pt x="400367" y="1192635"/>
                  </a:lnTo>
                  <a:lnTo>
                    <a:pt x="406186" y="1125309"/>
                  </a:lnTo>
                  <a:lnTo>
                    <a:pt x="471362" y="847589"/>
                  </a:lnTo>
                  <a:lnTo>
                    <a:pt x="512097" y="746600"/>
                  </a:lnTo>
                  <a:lnTo>
                    <a:pt x="560979" y="652824"/>
                  </a:lnTo>
                  <a:lnTo>
                    <a:pt x="618008" y="565059"/>
                  </a:lnTo>
                  <a:lnTo>
                    <a:pt x="683184" y="482103"/>
                  </a:lnTo>
                  <a:lnTo>
                    <a:pt x="755343" y="406361"/>
                  </a:lnTo>
                  <a:lnTo>
                    <a:pt x="833322" y="336631"/>
                  </a:lnTo>
                  <a:lnTo>
                    <a:pt x="918283" y="272912"/>
                  </a:lnTo>
                  <a:lnTo>
                    <a:pt x="1006736" y="216405"/>
                  </a:lnTo>
                  <a:lnTo>
                    <a:pt x="1102172" y="165911"/>
                  </a:lnTo>
                  <a:lnTo>
                    <a:pt x="1199936" y="123832"/>
                  </a:lnTo>
                  <a:lnTo>
                    <a:pt x="1298864" y="86563"/>
                  </a:lnTo>
                  <a:lnTo>
                    <a:pt x="1631727" y="10821"/>
                  </a:lnTo>
                  <a:close/>
                </a:path>
              </a:pathLst>
            </a:custGeom>
            <a:solidFill>
              <a:srgbClr val="BE9949"/>
            </a:solidFill>
            <a:ln>
              <a:noFill/>
            </a:ln>
          </p:spPr>
          <p:txBody>
            <a:bodyPr vert="horz" wrap="square" lIns="68580" tIns="34290" rIns="68580" bIns="34290" numCol="1" anchor="t" anchorCtr="0" compatLnSpc="1">
              <a:prstTxWarp prst="textNoShape">
                <a:avLst/>
              </a:prstTxWarp>
            </a:bodyPr>
            <a:lstStyle/>
            <a:p>
              <a:endParaRPr lang="ko-KR" altLang="en-US" sz="2026" dirty="0">
                <a:solidFill>
                  <a:prstClr val="black"/>
                </a:solidFill>
                <a:latin typeface="Calibri" panose="020F0502020204030204"/>
                <a:ea typeface="맑은 고딕" panose="020B0503020000020004" pitchFamily="34" charset="-127"/>
              </a:endParaRPr>
            </a:p>
          </p:txBody>
        </p:sp>
        <p:grpSp>
          <p:nvGrpSpPr>
            <p:cNvPr id="29" name="Group 28">
              <a:extLst>
                <a:ext uri="{FF2B5EF4-FFF2-40B4-BE49-F238E27FC236}">
                  <a16:creationId xmlns:a16="http://schemas.microsoft.com/office/drawing/2014/main" id="{11F3F9D7-B763-45E0-84C5-EEEBF0DAEDF1}"/>
                </a:ext>
              </a:extLst>
            </p:cNvPr>
            <p:cNvGrpSpPr/>
            <p:nvPr/>
          </p:nvGrpSpPr>
          <p:grpSpPr>
            <a:xfrm>
              <a:off x="1814988" y="3090306"/>
              <a:ext cx="482694" cy="368460"/>
              <a:chOff x="3509379" y="4293096"/>
              <a:chExt cx="1008112" cy="734938"/>
            </a:xfrm>
            <a:solidFill>
              <a:schemeClr val="bg1"/>
            </a:solidFill>
          </p:grpSpPr>
          <p:sp>
            <p:nvSpPr>
              <p:cNvPr id="31" name="Rounded Rectangle 10">
                <a:extLst>
                  <a:ext uri="{FF2B5EF4-FFF2-40B4-BE49-F238E27FC236}">
                    <a16:creationId xmlns:a16="http://schemas.microsoft.com/office/drawing/2014/main" id="{EF6E9D8B-502B-4E68-A98E-CFC135CC70A6}"/>
                  </a:ext>
                </a:extLst>
              </p:cNvPr>
              <p:cNvSpPr/>
              <p:nvPr/>
            </p:nvSpPr>
            <p:spPr>
              <a:xfrm>
                <a:off x="3509379" y="4293096"/>
                <a:ext cx="1008112" cy="1800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6" dirty="0">
                  <a:solidFill>
                    <a:prstClr val="white"/>
                  </a:solidFill>
                  <a:latin typeface="Calibri" panose="020F0502020204030204"/>
                  <a:ea typeface="맑은 고딕" panose="020B0503020000020004" pitchFamily="34" charset="-127"/>
                </a:endParaRPr>
              </a:p>
            </p:txBody>
          </p:sp>
          <p:sp>
            <p:nvSpPr>
              <p:cNvPr id="32" name="Rounded Rectangle 13">
                <a:extLst>
                  <a:ext uri="{FF2B5EF4-FFF2-40B4-BE49-F238E27FC236}">
                    <a16:creationId xmlns:a16="http://schemas.microsoft.com/office/drawing/2014/main" id="{9A73CD40-9092-46C6-8CA1-B614AD3F56BD}"/>
                  </a:ext>
                </a:extLst>
              </p:cNvPr>
              <p:cNvSpPr/>
              <p:nvPr/>
            </p:nvSpPr>
            <p:spPr>
              <a:xfrm>
                <a:off x="3581435" y="4537695"/>
                <a:ext cx="864000" cy="180000"/>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6" dirty="0">
                  <a:solidFill>
                    <a:prstClr val="white"/>
                  </a:solidFill>
                  <a:latin typeface="Calibri" panose="020F0502020204030204"/>
                  <a:ea typeface="맑은 고딕" panose="020B0503020000020004" pitchFamily="34" charset="-127"/>
                </a:endParaRPr>
              </a:p>
            </p:txBody>
          </p:sp>
          <p:sp>
            <p:nvSpPr>
              <p:cNvPr id="33" name="Chord 32">
                <a:extLst>
                  <a:ext uri="{FF2B5EF4-FFF2-40B4-BE49-F238E27FC236}">
                    <a16:creationId xmlns:a16="http://schemas.microsoft.com/office/drawing/2014/main" id="{3A695BEE-66E9-4185-A655-F18A2E0C2E49}"/>
                  </a:ext>
                </a:extLst>
              </p:cNvPr>
              <p:cNvSpPr/>
              <p:nvPr/>
            </p:nvSpPr>
            <p:spPr>
              <a:xfrm>
                <a:off x="3766973" y="4535109"/>
                <a:ext cx="492925" cy="492925"/>
              </a:xfrm>
              <a:prstGeom prst="chord">
                <a:avLst>
                  <a:gd name="adj1" fmla="val 21471232"/>
                  <a:gd name="adj2" fmla="val 1087811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026" dirty="0">
                  <a:solidFill>
                    <a:prstClr val="white"/>
                  </a:solidFill>
                  <a:latin typeface="Calibri" panose="020F0502020204030204"/>
                  <a:ea typeface="맑은 고딕" panose="020B0503020000020004" pitchFamily="34" charset="-127"/>
                </a:endParaRPr>
              </a:p>
            </p:txBody>
          </p:sp>
        </p:grpSp>
        <p:sp>
          <p:nvSpPr>
            <p:cNvPr id="30" name="Freeform 18">
              <a:extLst>
                <a:ext uri="{FF2B5EF4-FFF2-40B4-BE49-F238E27FC236}">
                  <a16:creationId xmlns:a16="http://schemas.microsoft.com/office/drawing/2014/main" id="{D1E88020-9CFA-41EB-846C-E7970894C181}"/>
                </a:ext>
              </a:extLst>
            </p:cNvPr>
            <p:cNvSpPr>
              <a:spLocks/>
            </p:cNvSpPr>
            <p:nvPr/>
          </p:nvSpPr>
          <p:spPr bwMode="auto">
            <a:xfrm flipH="1">
              <a:off x="1593064" y="2063412"/>
              <a:ext cx="1553240" cy="1813947"/>
            </a:xfrm>
            <a:custGeom>
              <a:avLst/>
              <a:gdLst/>
              <a:ahLst/>
              <a:cxnLst/>
              <a:rect l="l" t="t" r="r" b="b"/>
              <a:pathLst>
                <a:path w="3243960" h="3618138">
                  <a:moveTo>
                    <a:pt x="1764407" y="0"/>
                  </a:moveTo>
                  <a:lnTo>
                    <a:pt x="1631727" y="10821"/>
                  </a:lnTo>
                  <a:lnTo>
                    <a:pt x="1298864" y="86563"/>
                  </a:lnTo>
                  <a:lnTo>
                    <a:pt x="1199936" y="123832"/>
                  </a:lnTo>
                  <a:lnTo>
                    <a:pt x="1102172" y="165911"/>
                  </a:lnTo>
                  <a:lnTo>
                    <a:pt x="1006736" y="216405"/>
                  </a:lnTo>
                  <a:lnTo>
                    <a:pt x="918283" y="272912"/>
                  </a:lnTo>
                  <a:lnTo>
                    <a:pt x="833322" y="336631"/>
                  </a:lnTo>
                  <a:lnTo>
                    <a:pt x="755343" y="406361"/>
                  </a:lnTo>
                  <a:lnTo>
                    <a:pt x="683184" y="482103"/>
                  </a:lnTo>
                  <a:lnTo>
                    <a:pt x="618008" y="565059"/>
                  </a:lnTo>
                  <a:lnTo>
                    <a:pt x="560979" y="652824"/>
                  </a:lnTo>
                  <a:lnTo>
                    <a:pt x="512097" y="746600"/>
                  </a:lnTo>
                  <a:lnTo>
                    <a:pt x="471362" y="847589"/>
                  </a:lnTo>
                  <a:lnTo>
                    <a:pt x="406186" y="1125309"/>
                  </a:lnTo>
                  <a:lnTo>
                    <a:pt x="400367" y="1192635"/>
                  </a:lnTo>
                  <a:lnTo>
                    <a:pt x="398039" y="1256355"/>
                  </a:lnTo>
                  <a:lnTo>
                    <a:pt x="400367" y="1315264"/>
                  </a:lnTo>
                  <a:cubicBezTo>
                    <a:pt x="400754" y="1334901"/>
                    <a:pt x="401143" y="1354538"/>
                    <a:pt x="401531" y="1374175"/>
                  </a:cubicBezTo>
                  <a:lnTo>
                    <a:pt x="401531" y="1429479"/>
                  </a:lnTo>
                  <a:lnTo>
                    <a:pt x="395711" y="1481176"/>
                  </a:lnTo>
                  <a:lnTo>
                    <a:pt x="378254" y="1534075"/>
                  </a:lnTo>
                  <a:lnTo>
                    <a:pt x="346829" y="1597795"/>
                  </a:lnTo>
                  <a:lnTo>
                    <a:pt x="308423" y="1656704"/>
                  </a:lnTo>
                  <a:lnTo>
                    <a:pt x="266523" y="1708402"/>
                  </a:lnTo>
                  <a:lnTo>
                    <a:pt x="222297" y="1761301"/>
                  </a:lnTo>
                  <a:lnTo>
                    <a:pt x="175742" y="1809391"/>
                  </a:lnTo>
                  <a:lnTo>
                    <a:pt x="129188" y="1857481"/>
                  </a:lnTo>
                  <a:lnTo>
                    <a:pt x="84961" y="1910380"/>
                  </a:lnTo>
                  <a:lnTo>
                    <a:pt x="69831" y="1924807"/>
                  </a:lnTo>
                  <a:lnTo>
                    <a:pt x="51209" y="1942841"/>
                  </a:lnTo>
                  <a:lnTo>
                    <a:pt x="31424" y="1964481"/>
                  </a:lnTo>
                  <a:lnTo>
                    <a:pt x="15130" y="1986122"/>
                  </a:lnTo>
                  <a:lnTo>
                    <a:pt x="4656" y="2012571"/>
                  </a:lnTo>
                  <a:lnTo>
                    <a:pt x="0" y="2041425"/>
                  </a:lnTo>
                  <a:lnTo>
                    <a:pt x="5820" y="2071482"/>
                  </a:lnTo>
                  <a:lnTo>
                    <a:pt x="20950" y="2100335"/>
                  </a:lnTo>
                  <a:lnTo>
                    <a:pt x="46554" y="2124381"/>
                  </a:lnTo>
                  <a:lnTo>
                    <a:pt x="75651" y="2141212"/>
                  </a:lnTo>
                  <a:lnTo>
                    <a:pt x="111731" y="2156841"/>
                  </a:lnTo>
                  <a:lnTo>
                    <a:pt x="150138" y="2170066"/>
                  </a:lnTo>
                  <a:lnTo>
                    <a:pt x="188545" y="2183290"/>
                  </a:lnTo>
                  <a:lnTo>
                    <a:pt x="225789" y="2196515"/>
                  </a:lnTo>
                  <a:lnTo>
                    <a:pt x="261868" y="2212145"/>
                  </a:lnTo>
                  <a:lnTo>
                    <a:pt x="294455" y="2228976"/>
                  </a:lnTo>
                  <a:lnTo>
                    <a:pt x="317733" y="2250617"/>
                  </a:lnTo>
                  <a:lnTo>
                    <a:pt x="310750" y="2279471"/>
                  </a:lnTo>
                  <a:lnTo>
                    <a:pt x="297948" y="2305921"/>
                  </a:lnTo>
                  <a:lnTo>
                    <a:pt x="285145" y="2333572"/>
                  </a:lnTo>
                  <a:lnTo>
                    <a:pt x="271178" y="2360023"/>
                  </a:lnTo>
                  <a:lnTo>
                    <a:pt x="258376" y="2386471"/>
                  </a:lnTo>
                  <a:lnTo>
                    <a:pt x="249066" y="2412922"/>
                  </a:lnTo>
                  <a:lnTo>
                    <a:pt x="245574" y="2436966"/>
                  </a:lnTo>
                  <a:lnTo>
                    <a:pt x="247901" y="2463416"/>
                  </a:lnTo>
                  <a:lnTo>
                    <a:pt x="260703" y="2487461"/>
                  </a:lnTo>
                  <a:lnTo>
                    <a:pt x="283982" y="2511505"/>
                  </a:lnTo>
                  <a:lnTo>
                    <a:pt x="317733" y="2535551"/>
                  </a:lnTo>
                  <a:lnTo>
                    <a:pt x="310750" y="2554786"/>
                  </a:lnTo>
                  <a:lnTo>
                    <a:pt x="300275" y="2574023"/>
                  </a:lnTo>
                  <a:lnTo>
                    <a:pt x="292128" y="2596866"/>
                  </a:lnTo>
                  <a:lnTo>
                    <a:pt x="289800" y="2620911"/>
                  </a:lnTo>
                  <a:lnTo>
                    <a:pt x="294455" y="2644956"/>
                  </a:lnTo>
                  <a:lnTo>
                    <a:pt x="307259" y="2666596"/>
                  </a:lnTo>
                  <a:lnTo>
                    <a:pt x="323552" y="2683427"/>
                  </a:lnTo>
                  <a:lnTo>
                    <a:pt x="344502" y="2699057"/>
                  </a:lnTo>
                  <a:lnTo>
                    <a:pt x="365452" y="2709877"/>
                  </a:lnTo>
                  <a:lnTo>
                    <a:pt x="385236" y="2723102"/>
                  </a:lnTo>
                  <a:lnTo>
                    <a:pt x="403859" y="2741136"/>
                  </a:lnTo>
                  <a:lnTo>
                    <a:pt x="414333" y="2760372"/>
                  </a:lnTo>
                  <a:lnTo>
                    <a:pt x="424808" y="2795237"/>
                  </a:lnTo>
                  <a:lnTo>
                    <a:pt x="424808" y="2834911"/>
                  </a:lnTo>
                  <a:lnTo>
                    <a:pt x="421316" y="2872182"/>
                  </a:lnTo>
                  <a:lnTo>
                    <a:pt x="412006" y="2910653"/>
                  </a:lnTo>
                  <a:lnTo>
                    <a:pt x="403859" y="2947924"/>
                  </a:lnTo>
                  <a:lnTo>
                    <a:pt x="398039" y="2981586"/>
                  </a:lnTo>
                  <a:lnTo>
                    <a:pt x="393384" y="3029676"/>
                  </a:lnTo>
                  <a:lnTo>
                    <a:pt x="398039" y="3072958"/>
                  </a:lnTo>
                  <a:lnTo>
                    <a:pt x="410841" y="3112633"/>
                  </a:lnTo>
                  <a:lnTo>
                    <a:pt x="427136" y="3147498"/>
                  </a:lnTo>
                  <a:lnTo>
                    <a:pt x="450413" y="3175149"/>
                  </a:lnTo>
                  <a:lnTo>
                    <a:pt x="480674" y="3201598"/>
                  </a:lnTo>
                  <a:lnTo>
                    <a:pt x="509769" y="3223240"/>
                  </a:lnTo>
                  <a:lnTo>
                    <a:pt x="543521" y="3241274"/>
                  </a:lnTo>
                  <a:lnTo>
                    <a:pt x="577273" y="3256902"/>
                  </a:lnTo>
                  <a:lnTo>
                    <a:pt x="611025" y="3265318"/>
                  </a:lnTo>
                  <a:lnTo>
                    <a:pt x="672709" y="3276139"/>
                  </a:lnTo>
                  <a:lnTo>
                    <a:pt x="737886" y="3280948"/>
                  </a:lnTo>
                  <a:lnTo>
                    <a:pt x="806552" y="3278543"/>
                  </a:lnTo>
                  <a:lnTo>
                    <a:pt x="874056" y="3271330"/>
                  </a:lnTo>
                  <a:lnTo>
                    <a:pt x="941560" y="3262914"/>
                  </a:lnTo>
                  <a:lnTo>
                    <a:pt x="1005573" y="3249689"/>
                  </a:lnTo>
                  <a:lnTo>
                    <a:pt x="1062602" y="3234059"/>
                  </a:lnTo>
                  <a:lnTo>
                    <a:pt x="1112647" y="3217228"/>
                  </a:lnTo>
                  <a:lnTo>
                    <a:pt x="1133597" y="3210015"/>
                  </a:lnTo>
                  <a:lnTo>
                    <a:pt x="1161529" y="3201598"/>
                  </a:lnTo>
                  <a:lnTo>
                    <a:pt x="1191790" y="3193183"/>
                  </a:lnTo>
                  <a:lnTo>
                    <a:pt x="1223213" y="3184767"/>
                  </a:lnTo>
                  <a:lnTo>
                    <a:pt x="1256965" y="3179958"/>
                  </a:lnTo>
                  <a:lnTo>
                    <a:pt x="1290717" y="3177554"/>
                  </a:lnTo>
                  <a:lnTo>
                    <a:pt x="1319814" y="3182363"/>
                  </a:lnTo>
                  <a:lnTo>
                    <a:pt x="1345419" y="3193183"/>
                  </a:lnTo>
                  <a:lnTo>
                    <a:pt x="1368696" y="3214824"/>
                  </a:lnTo>
                  <a:lnTo>
                    <a:pt x="1389645" y="3249689"/>
                  </a:lnTo>
                  <a:lnTo>
                    <a:pt x="1409430" y="3294173"/>
                  </a:lnTo>
                  <a:lnTo>
                    <a:pt x="1428052" y="3345869"/>
                  </a:lnTo>
                  <a:lnTo>
                    <a:pt x="1443182" y="3404780"/>
                  </a:lnTo>
                  <a:lnTo>
                    <a:pt x="1458312" y="3466094"/>
                  </a:lnTo>
                  <a:lnTo>
                    <a:pt x="1471115" y="3529813"/>
                  </a:lnTo>
                  <a:lnTo>
                    <a:pt x="1482754" y="3594736"/>
                  </a:lnTo>
                  <a:lnTo>
                    <a:pt x="1487029" y="3618138"/>
                  </a:lnTo>
                  <a:lnTo>
                    <a:pt x="3090086" y="3618138"/>
                  </a:lnTo>
                  <a:lnTo>
                    <a:pt x="3088874" y="3615173"/>
                  </a:lnTo>
                  <a:lnTo>
                    <a:pt x="3067926" y="3553859"/>
                  </a:lnTo>
                  <a:lnTo>
                    <a:pt x="3049304" y="3486532"/>
                  </a:lnTo>
                  <a:lnTo>
                    <a:pt x="3030682" y="3420409"/>
                  </a:lnTo>
                  <a:lnTo>
                    <a:pt x="3019039" y="3381117"/>
                  </a:lnTo>
                  <a:cubicBezTo>
                    <a:pt x="2916596" y="3085457"/>
                    <a:pt x="2189761" y="2865156"/>
                    <a:pt x="1581345" y="2720212"/>
                  </a:cubicBezTo>
                  <a:cubicBezTo>
                    <a:pt x="1045124" y="2571338"/>
                    <a:pt x="651082" y="2065638"/>
                    <a:pt x="651082" y="1464934"/>
                  </a:cubicBezTo>
                  <a:cubicBezTo>
                    <a:pt x="651082" y="745769"/>
                    <a:pt x="1018501" y="171149"/>
                    <a:pt x="1912553" y="162771"/>
                  </a:cubicBezTo>
                  <a:cubicBezTo>
                    <a:pt x="2250796" y="159602"/>
                    <a:pt x="2458856" y="294299"/>
                    <a:pt x="2635535" y="395564"/>
                  </a:cubicBezTo>
                  <a:lnTo>
                    <a:pt x="2633024" y="398652"/>
                  </a:lnTo>
                  <a:cubicBezTo>
                    <a:pt x="3097872" y="776605"/>
                    <a:pt x="3170184" y="1459033"/>
                    <a:pt x="2794867" y="1926012"/>
                  </a:cubicBezTo>
                  <a:lnTo>
                    <a:pt x="2957653" y="2056846"/>
                  </a:lnTo>
                  <a:cubicBezTo>
                    <a:pt x="3404939" y="1500322"/>
                    <a:pt x="3318761" y="687035"/>
                    <a:pt x="2764776" y="236609"/>
                  </a:cubicBezTo>
                  <a:lnTo>
                    <a:pt x="2763561" y="238103"/>
                  </a:lnTo>
                  <a:lnTo>
                    <a:pt x="2752521" y="230833"/>
                  </a:lnTo>
                  <a:lnTo>
                    <a:pt x="2653593" y="176731"/>
                  </a:lnTo>
                  <a:lnTo>
                    <a:pt x="2545354" y="131046"/>
                  </a:lnTo>
                  <a:lnTo>
                    <a:pt x="2433624" y="88967"/>
                  </a:lnTo>
                  <a:lnTo>
                    <a:pt x="2312583" y="56506"/>
                  </a:lnTo>
                  <a:lnTo>
                    <a:pt x="2185723" y="30056"/>
                  </a:lnTo>
                  <a:lnTo>
                    <a:pt x="2053042" y="12022"/>
                  </a:lnTo>
                  <a:lnTo>
                    <a:pt x="1913381" y="1203"/>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ko-KR" altLang="en-US" sz="2026" dirty="0">
                <a:solidFill>
                  <a:prstClr val="black"/>
                </a:solidFill>
                <a:latin typeface="Calibri" panose="020F0502020204030204"/>
                <a:ea typeface="맑은 고딕" panose="020B0503020000020004" pitchFamily="34" charset="-127"/>
              </a:endParaRPr>
            </a:p>
          </p:txBody>
        </p:sp>
        <p:grpSp>
          <p:nvGrpSpPr>
            <p:cNvPr id="25" name="Graphic 33">
              <a:extLst>
                <a:ext uri="{FF2B5EF4-FFF2-40B4-BE49-F238E27FC236}">
                  <a16:creationId xmlns:a16="http://schemas.microsoft.com/office/drawing/2014/main" id="{A22B21EC-AEFA-41D4-BB16-3CBAA6918559}"/>
                </a:ext>
              </a:extLst>
            </p:cNvPr>
            <p:cNvGrpSpPr/>
            <p:nvPr/>
          </p:nvGrpSpPr>
          <p:grpSpPr>
            <a:xfrm>
              <a:off x="1730924" y="2362470"/>
              <a:ext cx="638760" cy="618485"/>
              <a:chOff x="7424910" y="2405641"/>
              <a:chExt cx="1771650" cy="1638300"/>
            </a:xfrm>
            <a:solidFill>
              <a:schemeClr val="accent4"/>
            </a:solidFill>
          </p:grpSpPr>
          <p:sp>
            <p:nvSpPr>
              <p:cNvPr id="26" name="Freeform: Shape 703">
                <a:extLst>
                  <a:ext uri="{FF2B5EF4-FFF2-40B4-BE49-F238E27FC236}">
                    <a16:creationId xmlns:a16="http://schemas.microsoft.com/office/drawing/2014/main" id="{DB181F83-32BA-4A20-BCFC-F34F2ED8645F}"/>
                  </a:ext>
                </a:extLst>
              </p:cNvPr>
              <p:cNvSpPr/>
              <p:nvPr/>
            </p:nvSpPr>
            <p:spPr>
              <a:xfrm>
                <a:off x="7417766" y="2398092"/>
                <a:ext cx="885825" cy="1647825"/>
              </a:xfrm>
              <a:custGeom>
                <a:avLst/>
                <a:gdLst>
                  <a:gd name="connsiteX0" fmla="*/ 749141 w 885825"/>
                  <a:gd name="connsiteY0" fmla="*/ 1281042 h 1647825"/>
                  <a:gd name="connsiteX1" fmla="*/ 858679 w 885825"/>
                  <a:gd name="connsiteY1" fmla="*/ 1312474 h 1647825"/>
                  <a:gd name="connsiteX2" fmla="*/ 858679 w 885825"/>
                  <a:gd name="connsiteY2" fmla="*/ 1287709 h 1647825"/>
                  <a:gd name="connsiteX3" fmla="*/ 861536 w 885825"/>
                  <a:gd name="connsiteY3" fmla="*/ 1006722 h 1647825"/>
                  <a:gd name="connsiteX4" fmla="*/ 855821 w 885825"/>
                  <a:gd name="connsiteY4" fmla="*/ 975289 h 1647825"/>
                  <a:gd name="connsiteX5" fmla="*/ 791051 w 885825"/>
                  <a:gd name="connsiteY5" fmla="*/ 885754 h 1647825"/>
                  <a:gd name="connsiteX6" fmla="*/ 770096 w 885825"/>
                  <a:gd name="connsiteY6" fmla="*/ 880039 h 1647825"/>
                  <a:gd name="connsiteX7" fmla="*/ 745331 w 885825"/>
                  <a:gd name="connsiteY7" fmla="*/ 880039 h 1647825"/>
                  <a:gd name="connsiteX8" fmla="*/ 718661 w 885825"/>
                  <a:gd name="connsiteY8" fmla="*/ 884802 h 1647825"/>
                  <a:gd name="connsiteX9" fmla="*/ 630079 w 885825"/>
                  <a:gd name="connsiteY9" fmla="*/ 1042917 h 1647825"/>
                  <a:gd name="connsiteX10" fmla="*/ 618649 w 885825"/>
                  <a:gd name="connsiteY10" fmla="*/ 1060062 h 1647825"/>
                  <a:gd name="connsiteX11" fmla="*/ 604361 w 885825"/>
                  <a:gd name="connsiteY11" fmla="*/ 1049584 h 1647825"/>
                  <a:gd name="connsiteX12" fmla="*/ 711041 w 885825"/>
                  <a:gd name="connsiteY12" fmla="*/ 859084 h 1647825"/>
                  <a:gd name="connsiteX13" fmla="*/ 737711 w 885825"/>
                  <a:gd name="connsiteY13" fmla="*/ 854322 h 1647825"/>
                  <a:gd name="connsiteX14" fmla="*/ 768191 w 885825"/>
                  <a:gd name="connsiteY14" fmla="*/ 857179 h 1647825"/>
                  <a:gd name="connsiteX15" fmla="*/ 846296 w 885825"/>
                  <a:gd name="connsiteY15" fmla="*/ 891469 h 1647825"/>
                  <a:gd name="connsiteX16" fmla="*/ 855821 w 885825"/>
                  <a:gd name="connsiteY16" fmla="*/ 707637 h 1647825"/>
                  <a:gd name="connsiteX17" fmla="*/ 856774 w 885825"/>
                  <a:gd name="connsiteY17" fmla="*/ 681919 h 1647825"/>
                  <a:gd name="connsiteX18" fmla="*/ 863441 w 885825"/>
                  <a:gd name="connsiteY18" fmla="*/ 650487 h 1647825"/>
                  <a:gd name="connsiteX19" fmla="*/ 868204 w 885825"/>
                  <a:gd name="connsiteY19" fmla="*/ 619054 h 1647825"/>
                  <a:gd name="connsiteX20" fmla="*/ 856774 w 885825"/>
                  <a:gd name="connsiteY20" fmla="*/ 311397 h 1647825"/>
                  <a:gd name="connsiteX21" fmla="*/ 856774 w 885825"/>
                  <a:gd name="connsiteY21" fmla="*/ 280917 h 1647825"/>
                  <a:gd name="connsiteX22" fmla="*/ 856774 w 885825"/>
                  <a:gd name="connsiteY22" fmla="*/ 220909 h 1647825"/>
                  <a:gd name="connsiteX23" fmla="*/ 854869 w 885825"/>
                  <a:gd name="connsiteY23" fmla="*/ 221862 h 1647825"/>
                  <a:gd name="connsiteX24" fmla="*/ 776764 w 885825"/>
                  <a:gd name="connsiteY24" fmla="*/ 71367 h 1647825"/>
                  <a:gd name="connsiteX25" fmla="*/ 750094 w 885825"/>
                  <a:gd name="connsiteY25" fmla="*/ 50412 h 1647825"/>
                  <a:gd name="connsiteX26" fmla="*/ 656749 w 885825"/>
                  <a:gd name="connsiteY26" fmla="*/ 12312 h 1647825"/>
                  <a:gd name="connsiteX27" fmla="*/ 623411 w 885825"/>
                  <a:gd name="connsiteY27" fmla="*/ 8502 h 1647825"/>
                  <a:gd name="connsiteX28" fmla="*/ 391954 w 885825"/>
                  <a:gd name="connsiteY28" fmla="*/ 227577 h 1647825"/>
                  <a:gd name="connsiteX29" fmla="*/ 405289 w 885825"/>
                  <a:gd name="connsiteY29" fmla="*/ 253294 h 1647825"/>
                  <a:gd name="connsiteX30" fmla="*/ 520541 w 885825"/>
                  <a:gd name="connsiteY30" fmla="*/ 332352 h 1647825"/>
                  <a:gd name="connsiteX31" fmla="*/ 551021 w 885825"/>
                  <a:gd name="connsiteY31" fmla="*/ 335209 h 1647825"/>
                  <a:gd name="connsiteX32" fmla="*/ 718661 w 885825"/>
                  <a:gd name="connsiteY32" fmla="*/ 198049 h 1647825"/>
                  <a:gd name="connsiteX33" fmla="*/ 722471 w 885825"/>
                  <a:gd name="connsiteY33" fmla="*/ 163759 h 1647825"/>
                  <a:gd name="connsiteX34" fmla="*/ 743426 w 885825"/>
                  <a:gd name="connsiteY34" fmla="*/ 146614 h 1647825"/>
                  <a:gd name="connsiteX35" fmla="*/ 758666 w 885825"/>
                  <a:gd name="connsiteY35" fmla="*/ 164712 h 1647825"/>
                  <a:gd name="connsiteX36" fmla="*/ 635794 w 885825"/>
                  <a:gd name="connsiteY36" fmla="*/ 353307 h 1647825"/>
                  <a:gd name="connsiteX37" fmla="*/ 708184 w 885825"/>
                  <a:gd name="connsiteY37" fmla="*/ 407599 h 1647825"/>
                  <a:gd name="connsiteX38" fmla="*/ 726281 w 885825"/>
                  <a:gd name="connsiteY38" fmla="*/ 432364 h 1647825"/>
                  <a:gd name="connsiteX39" fmla="*/ 757714 w 885825"/>
                  <a:gd name="connsiteY39" fmla="*/ 584764 h 1647825"/>
                  <a:gd name="connsiteX40" fmla="*/ 751046 w 885825"/>
                  <a:gd name="connsiteY40" fmla="*/ 611434 h 1647825"/>
                  <a:gd name="connsiteX41" fmla="*/ 741521 w 885825"/>
                  <a:gd name="connsiteY41" fmla="*/ 637152 h 1647825"/>
                  <a:gd name="connsiteX42" fmla="*/ 727234 w 885825"/>
                  <a:gd name="connsiteY42" fmla="*/ 661917 h 1647825"/>
                  <a:gd name="connsiteX43" fmla="*/ 687229 w 885825"/>
                  <a:gd name="connsiteY43" fmla="*/ 706684 h 1647825"/>
                  <a:gd name="connsiteX44" fmla="*/ 737711 w 885825"/>
                  <a:gd name="connsiteY44" fmla="*/ 786694 h 1647825"/>
                  <a:gd name="connsiteX45" fmla="*/ 760571 w 885825"/>
                  <a:gd name="connsiteY45" fmla="*/ 796219 h 1647825"/>
                  <a:gd name="connsiteX46" fmla="*/ 788194 w 885825"/>
                  <a:gd name="connsiteY46" fmla="*/ 799077 h 1647825"/>
                  <a:gd name="connsiteX47" fmla="*/ 783431 w 885825"/>
                  <a:gd name="connsiteY47" fmla="*/ 835272 h 1647825"/>
                  <a:gd name="connsiteX48" fmla="*/ 752951 w 885825"/>
                  <a:gd name="connsiteY48" fmla="*/ 830509 h 1647825"/>
                  <a:gd name="connsiteX49" fmla="*/ 724376 w 885825"/>
                  <a:gd name="connsiteY49" fmla="*/ 820032 h 1647825"/>
                  <a:gd name="connsiteX50" fmla="*/ 653891 w 885825"/>
                  <a:gd name="connsiteY50" fmla="*/ 728592 h 1647825"/>
                  <a:gd name="connsiteX51" fmla="*/ 381476 w 885825"/>
                  <a:gd name="connsiteY51" fmla="*/ 658107 h 1647825"/>
                  <a:gd name="connsiteX52" fmla="*/ 384334 w 885825"/>
                  <a:gd name="connsiteY52" fmla="*/ 635247 h 1647825"/>
                  <a:gd name="connsiteX53" fmla="*/ 411004 w 885825"/>
                  <a:gd name="connsiteY53" fmla="*/ 639057 h 1647825"/>
                  <a:gd name="connsiteX54" fmla="*/ 541496 w 885825"/>
                  <a:gd name="connsiteY54" fmla="*/ 717162 h 1647825"/>
                  <a:gd name="connsiteX55" fmla="*/ 552926 w 885825"/>
                  <a:gd name="connsiteY55" fmla="*/ 716209 h 1647825"/>
                  <a:gd name="connsiteX56" fmla="*/ 693896 w 885825"/>
                  <a:gd name="connsiteY56" fmla="*/ 638104 h 1647825"/>
                  <a:gd name="connsiteX57" fmla="*/ 710089 w 885825"/>
                  <a:gd name="connsiteY57" fmla="*/ 608577 h 1647825"/>
                  <a:gd name="connsiteX58" fmla="*/ 710089 w 885825"/>
                  <a:gd name="connsiteY58" fmla="*/ 475227 h 1647825"/>
                  <a:gd name="connsiteX59" fmla="*/ 693896 w 885825"/>
                  <a:gd name="connsiteY59" fmla="*/ 445699 h 1647825"/>
                  <a:gd name="connsiteX60" fmla="*/ 551974 w 885825"/>
                  <a:gd name="connsiteY60" fmla="*/ 370452 h 1647825"/>
                  <a:gd name="connsiteX61" fmla="*/ 532924 w 885825"/>
                  <a:gd name="connsiteY61" fmla="*/ 368547 h 1647825"/>
                  <a:gd name="connsiteX62" fmla="*/ 397669 w 885825"/>
                  <a:gd name="connsiteY62" fmla="*/ 301872 h 1647825"/>
                  <a:gd name="connsiteX63" fmla="*/ 371951 w 885825"/>
                  <a:gd name="connsiteY63" fmla="*/ 293299 h 1647825"/>
                  <a:gd name="connsiteX64" fmla="*/ 180499 w 885825"/>
                  <a:gd name="connsiteY64" fmla="*/ 376167 h 1647825"/>
                  <a:gd name="connsiteX65" fmla="*/ 175736 w 885825"/>
                  <a:gd name="connsiteY65" fmla="*/ 505707 h 1647825"/>
                  <a:gd name="connsiteX66" fmla="*/ 181451 w 885825"/>
                  <a:gd name="connsiteY66" fmla="*/ 532377 h 1647825"/>
                  <a:gd name="connsiteX67" fmla="*/ 202406 w 885825"/>
                  <a:gd name="connsiteY67" fmla="*/ 580954 h 1647825"/>
                  <a:gd name="connsiteX68" fmla="*/ 217646 w 885825"/>
                  <a:gd name="connsiteY68" fmla="*/ 581907 h 1647825"/>
                  <a:gd name="connsiteX69" fmla="*/ 239554 w 885825"/>
                  <a:gd name="connsiteY69" fmla="*/ 580002 h 1647825"/>
                  <a:gd name="connsiteX70" fmla="*/ 260509 w 885825"/>
                  <a:gd name="connsiteY70" fmla="*/ 575239 h 1647825"/>
                  <a:gd name="connsiteX71" fmla="*/ 344329 w 885825"/>
                  <a:gd name="connsiteY71" fmla="*/ 490467 h 1647825"/>
                  <a:gd name="connsiteX72" fmla="*/ 351949 w 885825"/>
                  <a:gd name="connsiteY72" fmla="*/ 465702 h 1647825"/>
                  <a:gd name="connsiteX73" fmla="*/ 361474 w 885825"/>
                  <a:gd name="connsiteY73" fmla="*/ 415219 h 1647825"/>
                  <a:gd name="connsiteX74" fmla="*/ 390049 w 885825"/>
                  <a:gd name="connsiteY74" fmla="*/ 424744 h 1647825"/>
                  <a:gd name="connsiteX75" fmla="*/ 325279 w 885825"/>
                  <a:gd name="connsiteY75" fmla="*/ 580954 h 1647825"/>
                  <a:gd name="connsiteX76" fmla="*/ 301466 w 885825"/>
                  <a:gd name="connsiteY76" fmla="*/ 597147 h 1647825"/>
                  <a:gd name="connsiteX77" fmla="*/ 218599 w 885825"/>
                  <a:gd name="connsiteY77" fmla="*/ 618102 h 1647825"/>
                  <a:gd name="connsiteX78" fmla="*/ 145256 w 885825"/>
                  <a:gd name="connsiteY78" fmla="*/ 600957 h 1647825"/>
                  <a:gd name="connsiteX79" fmla="*/ 7144 w 885825"/>
                  <a:gd name="connsiteY79" fmla="*/ 817174 h 1647825"/>
                  <a:gd name="connsiteX80" fmla="*/ 164306 w 885825"/>
                  <a:gd name="connsiteY80" fmla="*/ 1041964 h 1647825"/>
                  <a:gd name="connsiteX81" fmla="*/ 174784 w 885825"/>
                  <a:gd name="connsiteY81" fmla="*/ 1041964 h 1647825"/>
                  <a:gd name="connsiteX82" fmla="*/ 346234 w 885825"/>
                  <a:gd name="connsiteY82" fmla="*/ 870514 h 1647825"/>
                  <a:gd name="connsiteX83" fmla="*/ 367189 w 885825"/>
                  <a:gd name="connsiteY83" fmla="*/ 853369 h 1647825"/>
                  <a:gd name="connsiteX84" fmla="*/ 382429 w 885825"/>
                  <a:gd name="connsiteY84" fmla="*/ 871467 h 1647825"/>
                  <a:gd name="connsiteX85" fmla="*/ 346234 w 885825"/>
                  <a:gd name="connsiteY85" fmla="*/ 987672 h 1647825"/>
                  <a:gd name="connsiteX86" fmla="*/ 350044 w 885825"/>
                  <a:gd name="connsiteY86" fmla="*/ 1021009 h 1647825"/>
                  <a:gd name="connsiteX87" fmla="*/ 360521 w 885825"/>
                  <a:gd name="connsiteY87" fmla="*/ 1052442 h 1647825"/>
                  <a:gd name="connsiteX88" fmla="*/ 451009 w 885825"/>
                  <a:gd name="connsiteY88" fmla="*/ 1141024 h 1647825"/>
                  <a:gd name="connsiteX89" fmla="*/ 482441 w 885825"/>
                  <a:gd name="connsiteY89" fmla="*/ 1150549 h 1647825"/>
                  <a:gd name="connsiteX90" fmla="*/ 516731 w 885825"/>
                  <a:gd name="connsiteY90" fmla="*/ 1154359 h 1647825"/>
                  <a:gd name="connsiteX91" fmla="*/ 688181 w 885825"/>
                  <a:gd name="connsiteY91" fmla="*/ 982909 h 1647825"/>
                  <a:gd name="connsiteX92" fmla="*/ 709136 w 885825"/>
                  <a:gd name="connsiteY92" fmla="*/ 965764 h 1647825"/>
                  <a:gd name="connsiteX93" fmla="*/ 724376 w 885825"/>
                  <a:gd name="connsiteY93" fmla="*/ 983862 h 1647825"/>
                  <a:gd name="connsiteX94" fmla="*/ 721519 w 885825"/>
                  <a:gd name="connsiteY94" fmla="*/ 1017199 h 1647825"/>
                  <a:gd name="connsiteX95" fmla="*/ 684371 w 885825"/>
                  <a:gd name="connsiteY95" fmla="*/ 1105782 h 1647825"/>
                  <a:gd name="connsiteX96" fmla="*/ 663416 w 885825"/>
                  <a:gd name="connsiteY96" fmla="*/ 1129595 h 1647825"/>
                  <a:gd name="connsiteX97" fmla="*/ 517684 w 885825"/>
                  <a:gd name="connsiteY97" fmla="*/ 1189602 h 1647825"/>
                  <a:gd name="connsiteX98" fmla="*/ 488156 w 885825"/>
                  <a:gd name="connsiteY98" fmla="*/ 1187697 h 1647825"/>
                  <a:gd name="connsiteX99" fmla="*/ 459581 w 885825"/>
                  <a:gd name="connsiteY99" fmla="*/ 1181982 h 1647825"/>
                  <a:gd name="connsiteX100" fmla="*/ 315754 w 885825"/>
                  <a:gd name="connsiteY100" fmla="*/ 1023867 h 1647825"/>
                  <a:gd name="connsiteX101" fmla="*/ 172879 w 885825"/>
                  <a:gd name="connsiteY101" fmla="*/ 1185792 h 1647825"/>
                  <a:gd name="connsiteX102" fmla="*/ 341471 w 885825"/>
                  <a:gd name="connsiteY102" fmla="*/ 1345812 h 1647825"/>
                  <a:gd name="connsiteX103" fmla="*/ 373856 w 885825"/>
                  <a:gd name="connsiteY103" fmla="*/ 1348670 h 1647825"/>
                  <a:gd name="connsiteX104" fmla="*/ 386239 w 885825"/>
                  <a:gd name="connsiteY104" fmla="*/ 1348670 h 1647825"/>
                  <a:gd name="connsiteX105" fmla="*/ 383381 w 885825"/>
                  <a:gd name="connsiteY105" fmla="*/ 1369624 h 1647825"/>
                  <a:gd name="connsiteX106" fmla="*/ 382429 w 885825"/>
                  <a:gd name="connsiteY106" fmla="*/ 1391532 h 1647825"/>
                  <a:gd name="connsiteX107" fmla="*/ 527209 w 885825"/>
                  <a:gd name="connsiteY107" fmla="*/ 1625847 h 1647825"/>
                  <a:gd name="connsiteX108" fmla="*/ 558641 w 885825"/>
                  <a:gd name="connsiteY108" fmla="*/ 1636324 h 1647825"/>
                  <a:gd name="connsiteX109" fmla="*/ 756761 w 885825"/>
                  <a:gd name="connsiteY109" fmla="*/ 1596320 h 1647825"/>
                  <a:gd name="connsiteX110" fmla="*/ 777716 w 885825"/>
                  <a:gd name="connsiteY110" fmla="*/ 1584890 h 1647825"/>
                  <a:gd name="connsiteX111" fmla="*/ 858679 w 885825"/>
                  <a:gd name="connsiteY111" fmla="*/ 1491545 h 1647825"/>
                  <a:gd name="connsiteX112" fmla="*/ 791051 w 885825"/>
                  <a:gd name="connsiteY112" fmla="*/ 1321999 h 1647825"/>
                  <a:gd name="connsiteX113" fmla="*/ 771049 w 885825"/>
                  <a:gd name="connsiteY113" fmla="*/ 1318190 h 1647825"/>
                  <a:gd name="connsiteX114" fmla="*/ 750094 w 885825"/>
                  <a:gd name="connsiteY114" fmla="*/ 1317237 h 1647825"/>
                  <a:gd name="connsiteX115" fmla="*/ 608171 w 885825"/>
                  <a:gd name="connsiteY115" fmla="*/ 1392484 h 1647825"/>
                  <a:gd name="connsiteX116" fmla="*/ 591979 w 885825"/>
                  <a:gd name="connsiteY116" fmla="*/ 1422012 h 1647825"/>
                  <a:gd name="connsiteX117" fmla="*/ 576739 w 885825"/>
                  <a:gd name="connsiteY117" fmla="*/ 1497259 h 1647825"/>
                  <a:gd name="connsiteX118" fmla="*/ 552926 w 885825"/>
                  <a:gd name="connsiteY118" fmla="*/ 1501070 h 1647825"/>
                  <a:gd name="connsiteX119" fmla="*/ 546259 w 885825"/>
                  <a:gd name="connsiteY119" fmla="*/ 1447729 h 1647825"/>
                  <a:gd name="connsiteX120" fmla="*/ 552926 w 885825"/>
                  <a:gd name="connsiteY120" fmla="*/ 1422965 h 1647825"/>
                  <a:gd name="connsiteX121" fmla="*/ 565309 w 885825"/>
                  <a:gd name="connsiteY121" fmla="*/ 1393437 h 1647825"/>
                  <a:gd name="connsiteX122" fmla="*/ 749141 w 885825"/>
                  <a:gd name="connsiteY122" fmla="*/ 1281042 h 1647825"/>
                  <a:gd name="connsiteX123" fmla="*/ 164306 w 885825"/>
                  <a:gd name="connsiteY123" fmla="*/ 969574 h 1647825"/>
                  <a:gd name="connsiteX124" fmla="*/ 140494 w 885825"/>
                  <a:gd name="connsiteY124" fmla="*/ 968622 h 1647825"/>
                  <a:gd name="connsiteX125" fmla="*/ 118586 w 885825"/>
                  <a:gd name="connsiteY125" fmla="*/ 678109 h 1647825"/>
                  <a:gd name="connsiteX126" fmla="*/ 133826 w 885825"/>
                  <a:gd name="connsiteY126" fmla="*/ 661917 h 1647825"/>
                  <a:gd name="connsiteX127" fmla="*/ 134779 w 885825"/>
                  <a:gd name="connsiteY127" fmla="*/ 661917 h 1647825"/>
                  <a:gd name="connsiteX128" fmla="*/ 153829 w 885825"/>
                  <a:gd name="connsiteY128" fmla="*/ 691444 h 1647825"/>
                  <a:gd name="connsiteX129" fmla="*/ 153829 w 885825"/>
                  <a:gd name="connsiteY129" fmla="*/ 692397 h 1647825"/>
                  <a:gd name="connsiteX130" fmla="*/ 146209 w 885825"/>
                  <a:gd name="connsiteY130" fmla="*/ 700969 h 1647825"/>
                  <a:gd name="connsiteX131" fmla="*/ 165259 w 885825"/>
                  <a:gd name="connsiteY131" fmla="*/ 942904 h 1647825"/>
                  <a:gd name="connsiteX132" fmla="*/ 164306 w 885825"/>
                  <a:gd name="connsiteY132" fmla="*/ 969574 h 164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885825" h="1647825">
                    <a:moveTo>
                      <a:pt x="749141" y="1281042"/>
                    </a:moveTo>
                    <a:cubicBezTo>
                      <a:pt x="789146" y="1281042"/>
                      <a:pt x="827246" y="1292472"/>
                      <a:pt x="858679" y="1312474"/>
                    </a:cubicBezTo>
                    <a:cubicBezTo>
                      <a:pt x="858679" y="1312474"/>
                      <a:pt x="858679" y="1302949"/>
                      <a:pt x="858679" y="1287709"/>
                    </a:cubicBezTo>
                    <a:cubicBezTo>
                      <a:pt x="874871" y="1196270"/>
                      <a:pt x="875824" y="1101972"/>
                      <a:pt x="861536" y="1006722"/>
                    </a:cubicBezTo>
                    <a:cubicBezTo>
                      <a:pt x="859631" y="996244"/>
                      <a:pt x="857726" y="985767"/>
                      <a:pt x="855821" y="975289"/>
                    </a:cubicBezTo>
                    <a:cubicBezTo>
                      <a:pt x="847249" y="938142"/>
                      <a:pt x="828199" y="900042"/>
                      <a:pt x="791051" y="885754"/>
                    </a:cubicBezTo>
                    <a:cubicBezTo>
                      <a:pt x="784384" y="882897"/>
                      <a:pt x="777716" y="880992"/>
                      <a:pt x="770096" y="880039"/>
                    </a:cubicBezTo>
                    <a:cubicBezTo>
                      <a:pt x="762476" y="879087"/>
                      <a:pt x="753904" y="879087"/>
                      <a:pt x="745331" y="880039"/>
                    </a:cubicBezTo>
                    <a:cubicBezTo>
                      <a:pt x="736759" y="880992"/>
                      <a:pt x="727234" y="881944"/>
                      <a:pt x="718661" y="884802"/>
                    </a:cubicBezTo>
                    <a:cubicBezTo>
                      <a:pt x="651034" y="903852"/>
                      <a:pt x="611029" y="975289"/>
                      <a:pt x="630079" y="1042917"/>
                    </a:cubicBezTo>
                    <a:cubicBezTo>
                      <a:pt x="631984" y="1050537"/>
                      <a:pt x="627221" y="1059109"/>
                      <a:pt x="618649" y="1060062"/>
                    </a:cubicBezTo>
                    <a:cubicBezTo>
                      <a:pt x="611981" y="1061014"/>
                      <a:pt x="606266" y="1056252"/>
                      <a:pt x="604361" y="1049584"/>
                    </a:cubicBezTo>
                    <a:cubicBezTo>
                      <a:pt x="581501" y="967669"/>
                      <a:pt x="629126" y="881944"/>
                      <a:pt x="711041" y="859084"/>
                    </a:cubicBezTo>
                    <a:cubicBezTo>
                      <a:pt x="719614" y="856227"/>
                      <a:pt x="729139" y="855274"/>
                      <a:pt x="737711" y="854322"/>
                    </a:cubicBezTo>
                    <a:cubicBezTo>
                      <a:pt x="748189" y="854322"/>
                      <a:pt x="758666" y="855274"/>
                      <a:pt x="768191" y="857179"/>
                    </a:cubicBezTo>
                    <a:cubicBezTo>
                      <a:pt x="798671" y="853369"/>
                      <a:pt x="817721" y="891469"/>
                      <a:pt x="846296" y="891469"/>
                    </a:cubicBezTo>
                    <a:cubicBezTo>
                      <a:pt x="827246" y="834319"/>
                      <a:pt x="855821" y="767644"/>
                      <a:pt x="855821" y="707637"/>
                    </a:cubicBezTo>
                    <a:cubicBezTo>
                      <a:pt x="856774" y="699064"/>
                      <a:pt x="856774" y="690492"/>
                      <a:pt x="856774" y="681919"/>
                    </a:cubicBezTo>
                    <a:cubicBezTo>
                      <a:pt x="859631" y="671442"/>
                      <a:pt x="861536" y="660964"/>
                      <a:pt x="863441" y="650487"/>
                    </a:cubicBezTo>
                    <a:cubicBezTo>
                      <a:pt x="865346" y="640009"/>
                      <a:pt x="866299" y="629532"/>
                      <a:pt x="868204" y="619054"/>
                    </a:cubicBezTo>
                    <a:cubicBezTo>
                      <a:pt x="893921" y="510469"/>
                      <a:pt x="865346" y="415219"/>
                      <a:pt x="856774" y="311397"/>
                    </a:cubicBezTo>
                    <a:cubicBezTo>
                      <a:pt x="856774" y="300919"/>
                      <a:pt x="856774" y="290442"/>
                      <a:pt x="856774" y="280917"/>
                    </a:cubicBezTo>
                    <a:cubicBezTo>
                      <a:pt x="856774" y="243769"/>
                      <a:pt x="856774" y="220909"/>
                      <a:pt x="856774" y="220909"/>
                    </a:cubicBezTo>
                    <a:lnTo>
                      <a:pt x="854869" y="221862"/>
                    </a:lnTo>
                    <a:cubicBezTo>
                      <a:pt x="848201" y="162807"/>
                      <a:pt x="819626" y="109467"/>
                      <a:pt x="776764" y="71367"/>
                    </a:cubicBezTo>
                    <a:cubicBezTo>
                      <a:pt x="768191" y="63747"/>
                      <a:pt x="759619" y="57079"/>
                      <a:pt x="750094" y="50412"/>
                    </a:cubicBezTo>
                    <a:cubicBezTo>
                      <a:pt x="721519" y="31362"/>
                      <a:pt x="690086" y="18027"/>
                      <a:pt x="656749" y="12312"/>
                    </a:cubicBezTo>
                    <a:cubicBezTo>
                      <a:pt x="645319" y="10407"/>
                      <a:pt x="634841" y="9454"/>
                      <a:pt x="623411" y="8502"/>
                    </a:cubicBezTo>
                    <a:cubicBezTo>
                      <a:pt x="502444" y="-4833"/>
                      <a:pt x="359569" y="80892"/>
                      <a:pt x="391954" y="227577"/>
                    </a:cubicBezTo>
                    <a:cubicBezTo>
                      <a:pt x="395764" y="236149"/>
                      <a:pt x="399574" y="244722"/>
                      <a:pt x="405289" y="253294"/>
                    </a:cubicBezTo>
                    <a:cubicBezTo>
                      <a:pt x="427196" y="290442"/>
                      <a:pt x="474821" y="328542"/>
                      <a:pt x="520541" y="332352"/>
                    </a:cubicBezTo>
                    <a:cubicBezTo>
                      <a:pt x="530066" y="334257"/>
                      <a:pt x="540544" y="335209"/>
                      <a:pt x="551021" y="335209"/>
                    </a:cubicBezTo>
                    <a:cubicBezTo>
                      <a:pt x="633889" y="335209"/>
                      <a:pt x="702469" y="276154"/>
                      <a:pt x="718661" y="198049"/>
                    </a:cubicBezTo>
                    <a:cubicBezTo>
                      <a:pt x="720566" y="186619"/>
                      <a:pt x="722471" y="175189"/>
                      <a:pt x="722471" y="163759"/>
                    </a:cubicBezTo>
                    <a:cubicBezTo>
                      <a:pt x="722471" y="153282"/>
                      <a:pt x="731996" y="144709"/>
                      <a:pt x="743426" y="146614"/>
                    </a:cubicBezTo>
                    <a:cubicBezTo>
                      <a:pt x="751999" y="147567"/>
                      <a:pt x="758666" y="156139"/>
                      <a:pt x="758666" y="164712"/>
                    </a:cubicBezTo>
                    <a:cubicBezTo>
                      <a:pt x="758666" y="248532"/>
                      <a:pt x="708184" y="320922"/>
                      <a:pt x="635794" y="353307"/>
                    </a:cubicBezTo>
                    <a:cubicBezTo>
                      <a:pt x="664369" y="365689"/>
                      <a:pt x="689134" y="384739"/>
                      <a:pt x="708184" y="407599"/>
                    </a:cubicBezTo>
                    <a:cubicBezTo>
                      <a:pt x="714851" y="415219"/>
                      <a:pt x="720566" y="423792"/>
                      <a:pt x="726281" y="432364"/>
                    </a:cubicBezTo>
                    <a:cubicBezTo>
                      <a:pt x="771049" y="473322"/>
                      <a:pt x="761524" y="530472"/>
                      <a:pt x="757714" y="584764"/>
                    </a:cubicBezTo>
                    <a:cubicBezTo>
                      <a:pt x="755809" y="593337"/>
                      <a:pt x="753904" y="602862"/>
                      <a:pt x="751046" y="611434"/>
                    </a:cubicBezTo>
                    <a:cubicBezTo>
                      <a:pt x="748189" y="620007"/>
                      <a:pt x="745331" y="628579"/>
                      <a:pt x="741521" y="637152"/>
                    </a:cubicBezTo>
                    <a:cubicBezTo>
                      <a:pt x="737711" y="645724"/>
                      <a:pt x="732949" y="654297"/>
                      <a:pt x="727234" y="661917"/>
                    </a:cubicBezTo>
                    <a:cubicBezTo>
                      <a:pt x="716756" y="678109"/>
                      <a:pt x="703421" y="693349"/>
                      <a:pt x="687229" y="706684"/>
                    </a:cubicBezTo>
                    <a:cubicBezTo>
                      <a:pt x="689134" y="740974"/>
                      <a:pt x="709136" y="771454"/>
                      <a:pt x="737711" y="786694"/>
                    </a:cubicBezTo>
                    <a:cubicBezTo>
                      <a:pt x="744379" y="790504"/>
                      <a:pt x="752951" y="794314"/>
                      <a:pt x="760571" y="796219"/>
                    </a:cubicBezTo>
                    <a:cubicBezTo>
                      <a:pt x="771049" y="791457"/>
                      <a:pt x="780574" y="794314"/>
                      <a:pt x="788194" y="799077"/>
                    </a:cubicBezTo>
                    <a:cubicBezTo>
                      <a:pt x="810101" y="816222"/>
                      <a:pt x="800576" y="825747"/>
                      <a:pt x="783431" y="835272"/>
                    </a:cubicBezTo>
                    <a:cubicBezTo>
                      <a:pt x="773906" y="838129"/>
                      <a:pt x="762476" y="837177"/>
                      <a:pt x="752951" y="830509"/>
                    </a:cubicBezTo>
                    <a:cubicBezTo>
                      <a:pt x="743426" y="827652"/>
                      <a:pt x="733901" y="824794"/>
                      <a:pt x="724376" y="820032"/>
                    </a:cubicBezTo>
                    <a:cubicBezTo>
                      <a:pt x="689134" y="801934"/>
                      <a:pt x="662464" y="768597"/>
                      <a:pt x="653891" y="728592"/>
                    </a:cubicBezTo>
                    <a:cubicBezTo>
                      <a:pt x="559594" y="780027"/>
                      <a:pt x="439579" y="750499"/>
                      <a:pt x="381476" y="658107"/>
                    </a:cubicBezTo>
                    <a:cubicBezTo>
                      <a:pt x="376714" y="650487"/>
                      <a:pt x="377666" y="640962"/>
                      <a:pt x="384334" y="635247"/>
                    </a:cubicBezTo>
                    <a:cubicBezTo>
                      <a:pt x="392906" y="627627"/>
                      <a:pt x="405289" y="629532"/>
                      <a:pt x="411004" y="639057"/>
                    </a:cubicBezTo>
                    <a:cubicBezTo>
                      <a:pt x="440531" y="685729"/>
                      <a:pt x="490061" y="713352"/>
                      <a:pt x="541496" y="717162"/>
                    </a:cubicBezTo>
                    <a:cubicBezTo>
                      <a:pt x="545306" y="715257"/>
                      <a:pt x="548164" y="716209"/>
                      <a:pt x="552926" y="716209"/>
                    </a:cubicBezTo>
                    <a:cubicBezTo>
                      <a:pt x="611981" y="716209"/>
                      <a:pt x="663416" y="684777"/>
                      <a:pt x="693896" y="638104"/>
                    </a:cubicBezTo>
                    <a:cubicBezTo>
                      <a:pt x="699611" y="628579"/>
                      <a:pt x="705326" y="619054"/>
                      <a:pt x="710089" y="608577"/>
                    </a:cubicBezTo>
                    <a:cubicBezTo>
                      <a:pt x="732949" y="557142"/>
                      <a:pt x="723424" y="519042"/>
                      <a:pt x="710089" y="475227"/>
                    </a:cubicBezTo>
                    <a:cubicBezTo>
                      <a:pt x="705326" y="464749"/>
                      <a:pt x="700564" y="455224"/>
                      <a:pt x="693896" y="445699"/>
                    </a:cubicBezTo>
                    <a:cubicBezTo>
                      <a:pt x="663416" y="399979"/>
                      <a:pt x="611029" y="370452"/>
                      <a:pt x="551974" y="370452"/>
                    </a:cubicBezTo>
                    <a:cubicBezTo>
                      <a:pt x="546259" y="370452"/>
                      <a:pt x="539591" y="369499"/>
                      <a:pt x="532924" y="368547"/>
                    </a:cubicBezTo>
                    <a:cubicBezTo>
                      <a:pt x="485299" y="347592"/>
                      <a:pt x="440531" y="319017"/>
                      <a:pt x="397669" y="301872"/>
                    </a:cubicBezTo>
                    <a:cubicBezTo>
                      <a:pt x="389096" y="298062"/>
                      <a:pt x="380524" y="295204"/>
                      <a:pt x="371951" y="293299"/>
                    </a:cubicBezTo>
                    <a:cubicBezTo>
                      <a:pt x="294799" y="280917"/>
                      <a:pt x="209074" y="299967"/>
                      <a:pt x="180499" y="376167"/>
                    </a:cubicBezTo>
                    <a:cubicBezTo>
                      <a:pt x="170974" y="423792"/>
                      <a:pt x="161449" y="461892"/>
                      <a:pt x="175736" y="505707"/>
                    </a:cubicBezTo>
                    <a:cubicBezTo>
                      <a:pt x="177641" y="515232"/>
                      <a:pt x="179546" y="523804"/>
                      <a:pt x="181451" y="532377"/>
                    </a:cubicBezTo>
                    <a:cubicBezTo>
                      <a:pt x="186214" y="549522"/>
                      <a:pt x="193834" y="565714"/>
                      <a:pt x="202406" y="580954"/>
                    </a:cubicBezTo>
                    <a:cubicBezTo>
                      <a:pt x="207169" y="581907"/>
                      <a:pt x="211931" y="581907"/>
                      <a:pt x="217646" y="581907"/>
                    </a:cubicBezTo>
                    <a:cubicBezTo>
                      <a:pt x="225266" y="581907"/>
                      <a:pt x="231934" y="580954"/>
                      <a:pt x="239554" y="580002"/>
                    </a:cubicBezTo>
                    <a:cubicBezTo>
                      <a:pt x="247174" y="579049"/>
                      <a:pt x="253841" y="577144"/>
                      <a:pt x="260509" y="575239"/>
                    </a:cubicBezTo>
                    <a:cubicBezTo>
                      <a:pt x="305276" y="563809"/>
                      <a:pt x="330041" y="530472"/>
                      <a:pt x="344329" y="490467"/>
                    </a:cubicBezTo>
                    <a:cubicBezTo>
                      <a:pt x="347186" y="482847"/>
                      <a:pt x="350044" y="474274"/>
                      <a:pt x="351949" y="465702"/>
                    </a:cubicBezTo>
                    <a:cubicBezTo>
                      <a:pt x="361474" y="443794"/>
                      <a:pt x="361474" y="434269"/>
                      <a:pt x="361474" y="415219"/>
                    </a:cubicBezTo>
                    <a:cubicBezTo>
                      <a:pt x="370999" y="415219"/>
                      <a:pt x="390049" y="415219"/>
                      <a:pt x="390049" y="424744"/>
                    </a:cubicBezTo>
                    <a:cubicBezTo>
                      <a:pt x="399574" y="481894"/>
                      <a:pt x="361474" y="539044"/>
                      <a:pt x="325279" y="580954"/>
                    </a:cubicBezTo>
                    <a:cubicBezTo>
                      <a:pt x="317659" y="587622"/>
                      <a:pt x="310039" y="592384"/>
                      <a:pt x="301466" y="597147"/>
                    </a:cubicBezTo>
                    <a:cubicBezTo>
                      <a:pt x="276701" y="610482"/>
                      <a:pt x="248126" y="618102"/>
                      <a:pt x="218599" y="618102"/>
                    </a:cubicBezTo>
                    <a:cubicBezTo>
                      <a:pt x="191929" y="618102"/>
                      <a:pt x="168116" y="611434"/>
                      <a:pt x="145256" y="600957"/>
                    </a:cubicBezTo>
                    <a:cubicBezTo>
                      <a:pt x="64294" y="638104"/>
                      <a:pt x="7144" y="720972"/>
                      <a:pt x="7144" y="817174"/>
                    </a:cubicBezTo>
                    <a:cubicBezTo>
                      <a:pt x="7144" y="920044"/>
                      <a:pt x="72866" y="1008627"/>
                      <a:pt x="164306" y="1041964"/>
                    </a:cubicBezTo>
                    <a:cubicBezTo>
                      <a:pt x="168116" y="1041964"/>
                      <a:pt x="170974" y="1041964"/>
                      <a:pt x="174784" y="1041964"/>
                    </a:cubicBezTo>
                    <a:cubicBezTo>
                      <a:pt x="269081" y="1041964"/>
                      <a:pt x="346234" y="964812"/>
                      <a:pt x="346234" y="870514"/>
                    </a:cubicBezTo>
                    <a:cubicBezTo>
                      <a:pt x="346234" y="860037"/>
                      <a:pt x="355759" y="851464"/>
                      <a:pt x="367189" y="853369"/>
                    </a:cubicBezTo>
                    <a:cubicBezTo>
                      <a:pt x="375761" y="854322"/>
                      <a:pt x="382429" y="862894"/>
                      <a:pt x="382429" y="871467"/>
                    </a:cubicBezTo>
                    <a:cubicBezTo>
                      <a:pt x="382429" y="914329"/>
                      <a:pt x="369094" y="954334"/>
                      <a:pt x="346234" y="987672"/>
                    </a:cubicBezTo>
                    <a:cubicBezTo>
                      <a:pt x="346234" y="999102"/>
                      <a:pt x="348139" y="1010532"/>
                      <a:pt x="350044" y="1021009"/>
                    </a:cubicBezTo>
                    <a:cubicBezTo>
                      <a:pt x="352901" y="1031487"/>
                      <a:pt x="355759" y="1041964"/>
                      <a:pt x="360521" y="1052442"/>
                    </a:cubicBezTo>
                    <a:cubicBezTo>
                      <a:pt x="372904" y="1100067"/>
                      <a:pt x="401479" y="1128642"/>
                      <a:pt x="451009" y="1141024"/>
                    </a:cubicBezTo>
                    <a:cubicBezTo>
                      <a:pt x="461486" y="1144834"/>
                      <a:pt x="471964" y="1148645"/>
                      <a:pt x="482441" y="1150549"/>
                    </a:cubicBezTo>
                    <a:cubicBezTo>
                      <a:pt x="493871" y="1152454"/>
                      <a:pt x="504349" y="1154359"/>
                      <a:pt x="516731" y="1154359"/>
                    </a:cubicBezTo>
                    <a:cubicBezTo>
                      <a:pt x="611029" y="1154359"/>
                      <a:pt x="688181" y="1077207"/>
                      <a:pt x="688181" y="982909"/>
                    </a:cubicBezTo>
                    <a:cubicBezTo>
                      <a:pt x="688181" y="972432"/>
                      <a:pt x="697706" y="963859"/>
                      <a:pt x="709136" y="965764"/>
                    </a:cubicBezTo>
                    <a:cubicBezTo>
                      <a:pt x="717709" y="966717"/>
                      <a:pt x="724376" y="975289"/>
                      <a:pt x="724376" y="983862"/>
                    </a:cubicBezTo>
                    <a:cubicBezTo>
                      <a:pt x="724376" y="995292"/>
                      <a:pt x="723424" y="1006722"/>
                      <a:pt x="721519" y="1017199"/>
                    </a:cubicBezTo>
                    <a:cubicBezTo>
                      <a:pt x="725329" y="1052442"/>
                      <a:pt x="696754" y="1071492"/>
                      <a:pt x="684371" y="1105782"/>
                    </a:cubicBezTo>
                    <a:cubicBezTo>
                      <a:pt x="677704" y="1114354"/>
                      <a:pt x="671036" y="1121974"/>
                      <a:pt x="663416" y="1129595"/>
                    </a:cubicBezTo>
                    <a:cubicBezTo>
                      <a:pt x="626269" y="1166742"/>
                      <a:pt x="574834" y="1189602"/>
                      <a:pt x="517684" y="1189602"/>
                    </a:cubicBezTo>
                    <a:cubicBezTo>
                      <a:pt x="507206" y="1189602"/>
                      <a:pt x="497681" y="1188649"/>
                      <a:pt x="488156" y="1187697"/>
                    </a:cubicBezTo>
                    <a:cubicBezTo>
                      <a:pt x="478631" y="1186745"/>
                      <a:pt x="469106" y="1183887"/>
                      <a:pt x="459581" y="1181982"/>
                    </a:cubicBezTo>
                    <a:cubicBezTo>
                      <a:pt x="382429" y="1166742"/>
                      <a:pt x="334804" y="1100067"/>
                      <a:pt x="315754" y="1023867"/>
                    </a:cubicBezTo>
                    <a:cubicBezTo>
                      <a:pt x="249079" y="1071492"/>
                      <a:pt x="153829" y="1071492"/>
                      <a:pt x="172879" y="1185792"/>
                    </a:cubicBezTo>
                    <a:cubicBezTo>
                      <a:pt x="191929" y="1271517"/>
                      <a:pt x="258604" y="1338192"/>
                      <a:pt x="341471" y="1345812"/>
                    </a:cubicBezTo>
                    <a:cubicBezTo>
                      <a:pt x="351949" y="1347717"/>
                      <a:pt x="362426" y="1348670"/>
                      <a:pt x="373856" y="1348670"/>
                    </a:cubicBezTo>
                    <a:cubicBezTo>
                      <a:pt x="377666" y="1348670"/>
                      <a:pt x="381476" y="1348670"/>
                      <a:pt x="386239" y="1348670"/>
                    </a:cubicBezTo>
                    <a:cubicBezTo>
                      <a:pt x="385286" y="1355337"/>
                      <a:pt x="384334" y="1362957"/>
                      <a:pt x="383381" y="1369624"/>
                    </a:cubicBezTo>
                    <a:cubicBezTo>
                      <a:pt x="382429" y="1376292"/>
                      <a:pt x="382429" y="1383912"/>
                      <a:pt x="382429" y="1391532"/>
                    </a:cubicBezTo>
                    <a:cubicBezTo>
                      <a:pt x="373856" y="1500117"/>
                      <a:pt x="421481" y="1595367"/>
                      <a:pt x="527209" y="1625847"/>
                    </a:cubicBezTo>
                    <a:cubicBezTo>
                      <a:pt x="537686" y="1629657"/>
                      <a:pt x="548164" y="1633467"/>
                      <a:pt x="558641" y="1636324"/>
                    </a:cubicBezTo>
                    <a:cubicBezTo>
                      <a:pt x="623411" y="1652517"/>
                      <a:pt x="698659" y="1636324"/>
                      <a:pt x="756761" y="1596320"/>
                    </a:cubicBezTo>
                    <a:cubicBezTo>
                      <a:pt x="764381" y="1592509"/>
                      <a:pt x="771049" y="1588699"/>
                      <a:pt x="777716" y="1584890"/>
                    </a:cubicBezTo>
                    <a:cubicBezTo>
                      <a:pt x="812006" y="1563934"/>
                      <a:pt x="841534" y="1533454"/>
                      <a:pt x="858679" y="1491545"/>
                    </a:cubicBezTo>
                    <a:cubicBezTo>
                      <a:pt x="887254" y="1424870"/>
                      <a:pt x="877729" y="1339145"/>
                      <a:pt x="791051" y="1321999"/>
                    </a:cubicBezTo>
                    <a:cubicBezTo>
                      <a:pt x="784384" y="1320095"/>
                      <a:pt x="777716" y="1319142"/>
                      <a:pt x="771049" y="1318190"/>
                    </a:cubicBezTo>
                    <a:cubicBezTo>
                      <a:pt x="764381" y="1317237"/>
                      <a:pt x="757714" y="1317237"/>
                      <a:pt x="750094" y="1317237"/>
                    </a:cubicBezTo>
                    <a:cubicBezTo>
                      <a:pt x="691039" y="1317237"/>
                      <a:pt x="638651" y="1347717"/>
                      <a:pt x="608171" y="1392484"/>
                    </a:cubicBezTo>
                    <a:cubicBezTo>
                      <a:pt x="602456" y="1402009"/>
                      <a:pt x="596741" y="1411534"/>
                      <a:pt x="591979" y="1422012"/>
                    </a:cubicBezTo>
                    <a:cubicBezTo>
                      <a:pt x="577691" y="1445824"/>
                      <a:pt x="590074" y="1483924"/>
                      <a:pt x="576739" y="1497259"/>
                    </a:cubicBezTo>
                    <a:cubicBezTo>
                      <a:pt x="571976" y="1502022"/>
                      <a:pt x="565309" y="1503927"/>
                      <a:pt x="552926" y="1501070"/>
                    </a:cubicBezTo>
                    <a:cubicBezTo>
                      <a:pt x="543401" y="1482020"/>
                      <a:pt x="543401" y="1462970"/>
                      <a:pt x="546259" y="1447729"/>
                    </a:cubicBezTo>
                    <a:cubicBezTo>
                      <a:pt x="548164" y="1439157"/>
                      <a:pt x="551021" y="1430584"/>
                      <a:pt x="552926" y="1422965"/>
                    </a:cubicBezTo>
                    <a:cubicBezTo>
                      <a:pt x="556736" y="1412487"/>
                      <a:pt x="560546" y="1402962"/>
                      <a:pt x="565309" y="1393437"/>
                    </a:cubicBezTo>
                    <a:cubicBezTo>
                      <a:pt x="600551" y="1326762"/>
                      <a:pt x="669131" y="1281042"/>
                      <a:pt x="749141" y="1281042"/>
                    </a:cubicBezTo>
                    <a:close/>
                    <a:moveTo>
                      <a:pt x="164306" y="969574"/>
                    </a:moveTo>
                    <a:cubicBezTo>
                      <a:pt x="157639" y="975289"/>
                      <a:pt x="147161" y="975289"/>
                      <a:pt x="140494" y="968622"/>
                    </a:cubicBezTo>
                    <a:cubicBezTo>
                      <a:pt x="54769" y="894327"/>
                      <a:pt x="45244" y="763834"/>
                      <a:pt x="118586" y="678109"/>
                    </a:cubicBezTo>
                    <a:cubicBezTo>
                      <a:pt x="123349" y="672394"/>
                      <a:pt x="129064" y="667632"/>
                      <a:pt x="133826" y="661917"/>
                    </a:cubicBezTo>
                    <a:cubicBezTo>
                      <a:pt x="133826" y="661917"/>
                      <a:pt x="134779" y="661917"/>
                      <a:pt x="134779" y="661917"/>
                    </a:cubicBezTo>
                    <a:lnTo>
                      <a:pt x="153829" y="691444"/>
                    </a:lnTo>
                    <a:cubicBezTo>
                      <a:pt x="153829" y="691444"/>
                      <a:pt x="153829" y="691444"/>
                      <a:pt x="153829" y="692397"/>
                    </a:cubicBezTo>
                    <a:cubicBezTo>
                      <a:pt x="150971" y="695254"/>
                      <a:pt x="148114" y="698112"/>
                      <a:pt x="146209" y="700969"/>
                    </a:cubicBezTo>
                    <a:cubicBezTo>
                      <a:pt x="84296" y="772407"/>
                      <a:pt x="92869" y="880992"/>
                      <a:pt x="165259" y="942904"/>
                    </a:cubicBezTo>
                    <a:cubicBezTo>
                      <a:pt x="172879" y="949572"/>
                      <a:pt x="172879" y="961954"/>
                      <a:pt x="164306" y="969574"/>
                    </a:cubicBezTo>
                    <a:close/>
                  </a:path>
                </a:pathLst>
              </a:custGeom>
              <a:grpFill/>
              <a:ln w="9525" cap="flat">
                <a:noFill/>
                <a:prstDash val="solid"/>
                <a:miter/>
              </a:ln>
            </p:spPr>
            <p:txBody>
              <a:bodyPr rtlCol="0" anchor="ctr"/>
              <a:lstStyle/>
              <a:p>
                <a:endParaRPr lang="en-US" sz="1350" dirty="0">
                  <a:solidFill>
                    <a:prstClr val="black"/>
                  </a:solidFill>
                  <a:latin typeface="Calibri" panose="020F0502020204030204"/>
                </a:endParaRPr>
              </a:p>
            </p:txBody>
          </p:sp>
          <p:sp>
            <p:nvSpPr>
              <p:cNvPr id="27" name="Freeform: Shape 704">
                <a:extLst>
                  <a:ext uri="{FF2B5EF4-FFF2-40B4-BE49-F238E27FC236}">
                    <a16:creationId xmlns:a16="http://schemas.microsoft.com/office/drawing/2014/main" id="{7EF24C50-6E43-4385-B49C-7960EAFC3CA4}"/>
                  </a:ext>
                </a:extLst>
              </p:cNvPr>
              <p:cNvSpPr/>
              <p:nvPr/>
            </p:nvSpPr>
            <p:spPr>
              <a:xfrm>
                <a:off x="8319409" y="2396187"/>
                <a:ext cx="885825" cy="1647825"/>
              </a:xfrm>
              <a:custGeom>
                <a:avLst/>
                <a:gdLst>
                  <a:gd name="connsiteX0" fmla="*/ 320891 w 885825"/>
                  <a:gd name="connsiteY0" fmla="*/ 1394389 h 1647825"/>
                  <a:gd name="connsiteX1" fmla="*/ 333274 w 885825"/>
                  <a:gd name="connsiteY1" fmla="*/ 1423917 h 1647825"/>
                  <a:gd name="connsiteX2" fmla="*/ 339941 w 885825"/>
                  <a:gd name="connsiteY2" fmla="*/ 1448682 h 1647825"/>
                  <a:gd name="connsiteX3" fmla="*/ 333274 w 885825"/>
                  <a:gd name="connsiteY3" fmla="*/ 1502022 h 1647825"/>
                  <a:gd name="connsiteX4" fmla="*/ 309461 w 885825"/>
                  <a:gd name="connsiteY4" fmla="*/ 1498212 h 1647825"/>
                  <a:gd name="connsiteX5" fmla="*/ 294221 w 885825"/>
                  <a:gd name="connsiteY5" fmla="*/ 1422964 h 1647825"/>
                  <a:gd name="connsiteX6" fmla="*/ 278029 w 885825"/>
                  <a:gd name="connsiteY6" fmla="*/ 1393437 h 1647825"/>
                  <a:gd name="connsiteX7" fmla="*/ 136106 w 885825"/>
                  <a:gd name="connsiteY7" fmla="*/ 1318189 h 1647825"/>
                  <a:gd name="connsiteX8" fmla="*/ 115151 w 885825"/>
                  <a:gd name="connsiteY8" fmla="*/ 1319142 h 1647825"/>
                  <a:gd name="connsiteX9" fmla="*/ 95149 w 885825"/>
                  <a:gd name="connsiteY9" fmla="*/ 1322952 h 1647825"/>
                  <a:gd name="connsiteX10" fmla="*/ 27521 w 885825"/>
                  <a:gd name="connsiteY10" fmla="*/ 1492497 h 1647825"/>
                  <a:gd name="connsiteX11" fmla="*/ 108484 w 885825"/>
                  <a:gd name="connsiteY11" fmla="*/ 1585842 h 1647825"/>
                  <a:gd name="connsiteX12" fmla="*/ 129439 w 885825"/>
                  <a:gd name="connsiteY12" fmla="*/ 1597272 h 1647825"/>
                  <a:gd name="connsiteX13" fmla="*/ 327559 w 885825"/>
                  <a:gd name="connsiteY13" fmla="*/ 1637277 h 1647825"/>
                  <a:gd name="connsiteX14" fmla="*/ 358991 w 885825"/>
                  <a:gd name="connsiteY14" fmla="*/ 1626800 h 1647825"/>
                  <a:gd name="connsiteX15" fmla="*/ 503771 w 885825"/>
                  <a:gd name="connsiteY15" fmla="*/ 1392484 h 1647825"/>
                  <a:gd name="connsiteX16" fmla="*/ 502819 w 885825"/>
                  <a:gd name="connsiteY16" fmla="*/ 1370577 h 1647825"/>
                  <a:gd name="connsiteX17" fmla="*/ 499961 w 885825"/>
                  <a:gd name="connsiteY17" fmla="*/ 1349622 h 1647825"/>
                  <a:gd name="connsiteX18" fmla="*/ 512344 w 885825"/>
                  <a:gd name="connsiteY18" fmla="*/ 1349622 h 1647825"/>
                  <a:gd name="connsiteX19" fmla="*/ 544729 w 885825"/>
                  <a:gd name="connsiteY19" fmla="*/ 1346764 h 1647825"/>
                  <a:gd name="connsiteX20" fmla="*/ 713321 w 885825"/>
                  <a:gd name="connsiteY20" fmla="*/ 1186744 h 1647825"/>
                  <a:gd name="connsiteX21" fmla="*/ 570446 w 885825"/>
                  <a:gd name="connsiteY21" fmla="*/ 1024819 h 1647825"/>
                  <a:gd name="connsiteX22" fmla="*/ 426619 w 885825"/>
                  <a:gd name="connsiteY22" fmla="*/ 1182934 h 1647825"/>
                  <a:gd name="connsiteX23" fmla="*/ 398044 w 885825"/>
                  <a:gd name="connsiteY23" fmla="*/ 1188650 h 1647825"/>
                  <a:gd name="connsiteX24" fmla="*/ 368516 w 885825"/>
                  <a:gd name="connsiteY24" fmla="*/ 1190554 h 1647825"/>
                  <a:gd name="connsiteX25" fmla="*/ 222784 w 885825"/>
                  <a:gd name="connsiteY25" fmla="*/ 1130547 h 1647825"/>
                  <a:gd name="connsiteX26" fmla="*/ 201829 w 885825"/>
                  <a:gd name="connsiteY26" fmla="*/ 1106734 h 1647825"/>
                  <a:gd name="connsiteX27" fmla="*/ 164681 w 885825"/>
                  <a:gd name="connsiteY27" fmla="*/ 1018152 h 1647825"/>
                  <a:gd name="connsiteX28" fmla="*/ 161824 w 885825"/>
                  <a:gd name="connsiteY28" fmla="*/ 984814 h 1647825"/>
                  <a:gd name="connsiteX29" fmla="*/ 177064 w 885825"/>
                  <a:gd name="connsiteY29" fmla="*/ 966717 h 1647825"/>
                  <a:gd name="connsiteX30" fmla="*/ 198019 w 885825"/>
                  <a:gd name="connsiteY30" fmla="*/ 983862 h 1647825"/>
                  <a:gd name="connsiteX31" fmla="*/ 369469 w 885825"/>
                  <a:gd name="connsiteY31" fmla="*/ 1155312 h 1647825"/>
                  <a:gd name="connsiteX32" fmla="*/ 403759 w 885825"/>
                  <a:gd name="connsiteY32" fmla="*/ 1151502 h 1647825"/>
                  <a:gd name="connsiteX33" fmla="*/ 435191 w 885825"/>
                  <a:gd name="connsiteY33" fmla="*/ 1141977 h 1647825"/>
                  <a:gd name="connsiteX34" fmla="*/ 525679 w 885825"/>
                  <a:gd name="connsiteY34" fmla="*/ 1053394 h 1647825"/>
                  <a:gd name="connsiteX35" fmla="*/ 536156 w 885825"/>
                  <a:gd name="connsiteY35" fmla="*/ 1021962 h 1647825"/>
                  <a:gd name="connsiteX36" fmla="*/ 539966 w 885825"/>
                  <a:gd name="connsiteY36" fmla="*/ 988624 h 1647825"/>
                  <a:gd name="connsiteX37" fmla="*/ 503771 w 885825"/>
                  <a:gd name="connsiteY37" fmla="*/ 872419 h 1647825"/>
                  <a:gd name="connsiteX38" fmla="*/ 519011 w 885825"/>
                  <a:gd name="connsiteY38" fmla="*/ 854322 h 1647825"/>
                  <a:gd name="connsiteX39" fmla="*/ 539966 w 885825"/>
                  <a:gd name="connsiteY39" fmla="*/ 871467 h 1647825"/>
                  <a:gd name="connsiteX40" fmla="*/ 711416 w 885825"/>
                  <a:gd name="connsiteY40" fmla="*/ 1042917 h 1647825"/>
                  <a:gd name="connsiteX41" fmla="*/ 721894 w 885825"/>
                  <a:gd name="connsiteY41" fmla="*/ 1042917 h 1647825"/>
                  <a:gd name="connsiteX42" fmla="*/ 879056 w 885825"/>
                  <a:gd name="connsiteY42" fmla="*/ 818127 h 1647825"/>
                  <a:gd name="connsiteX43" fmla="*/ 739991 w 885825"/>
                  <a:gd name="connsiteY43" fmla="*/ 600957 h 1647825"/>
                  <a:gd name="connsiteX44" fmla="*/ 666649 w 885825"/>
                  <a:gd name="connsiteY44" fmla="*/ 618102 h 1647825"/>
                  <a:gd name="connsiteX45" fmla="*/ 583781 w 885825"/>
                  <a:gd name="connsiteY45" fmla="*/ 597147 h 1647825"/>
                  <a:gd name="connsiteX46" fmla="*/ 559969 w 885825"/>
                  <a:gd name="connsiteY46" fmla="*/ 580954 h 1647825"/>
                  <a:gd name="connsiteX47" fmla="*/ 495199 w 885825"/>
                  <a:gd name="connsiteY47" fmla="*/ 424744 h 1647825"/>
                  <a:gd name="connsiteX48" fmla="*/ 523774 w 885825"/>
                  <a:gd name="connsiteY48" fmla="*/ 415219 h 1647825"/>
                  <a:gd name="connsiteX49" fmla="*/ 533299 w 885825"/>
                  <a:gd name="connsiteY49" fmla="*/ 465702 h 1647825"/>
                  <a:gd name="connsiteX50" fmla="*/ 540919 w 885825"/>
                  <a:gd name="connsiteY50" fmla="*/ 490467 h 1647825"/>
                  <a:gd name="connsiteX51" fmla="*/ 624739 w 885825"/>
                  <a:gd name="connsiteY51" fmla="*/ 575239 h 1647825"/>
                  <a:gd name="connsiteX52" fmla="*/ 645694 w 885825"/>
                  <a:gd name="connsiteY52" fmla="*/ 580002 h 1647825"/>
                  <a:gd name="connsiteX53" fmla="*/ 667601 w 885825"/>
                  <a:gd name="connsiteY53" fmla="*/ 581907 h 1647825"/>
                  <a:gd name="connsiteX54" fmla="*/ 682841 w 885825"/>
                  <a:gd name="connsiteY54" fmla="*/ 580954 h 1647825"/>
                  <a:gd name="connsiteX55" fmla="*/ 703796 w 885825"/>
                  <a:gd name="connsiteY55" fmla="*/ 532377 h 1647825"/>
                  <a:gd name="connsiteX56" fmla="*/ 709511 w 885825"/>
                  <a:gd name="connsiteY56" fmla="*/ 505707 h 1647825"/>
                  <a:gd name="connsiteX57" fmla="*/ 704749 w 885825"/>
                  <a:gd name="connsiteY57" fmla="*/ 376167 h 1647825"/>
                  <a:gd name="connsiteX58" fmla="*/ 513296 w 885825"/>
                  <a:gd name="connsiteY58" fmla="*/ 293299 h 1647825"/>
                  <a:gd name="connsiteX59" fmla="*/ 487579 w 885825"/>
                  <a:gd name="connsiteY59" fmla="*/ 301872 h 1647825"/>
                  <a:gd name="connsiteX60" fmla="*/ 352324 w 885825"/>
                  <a:gd name="connsiteY60" fmla="*/ 368547 h 1647825"/>
                  <a:gd name="connsiteX61" fmla="*/ 333274 w 885825"/>
                  <a:gd name="connsiteY61" fmla="*/ 370452 h 1647825"/>
                  <a:gd name="connsiteX62" fmla="*/ 191351 w 885825"/>
                  <a:gd name="connsiteY62" fmla="*/ 445699 h 1647825"/>
                  <a:gd name="connsiteX63" fmla="*/ 175159 w 885825"/>
                  <a:gd name="connsiteY63" fmla="*/ 475227 h 1647825"/>
                  <a:gd name="connsiteX64" fmla="*/ 175159 w 885825"/>
                  <a:gd name="connsiteY64" fmla="*/ 608577 h 1647825"/>
                  <a:gd name="connsiteX65" fmla="*/ 191351 w 885825"/>
                  <a:gd name="connsiteY65" fmla="*/ 638104 h 1647825"/>
                  <a:gd name="connsiteX66" fmla="*/ 332321 w 885825"/>
                  <a:gd name="connsiteY66" fmla="*/ 716209 h 1647825"/>
                  <a:gd name="connsiteX67" fmla="*/ 343751 w 885825"/>
                  <a:gd name="connsiteY67" fmla="*/ 717162 h 1647825"/>
                  <a:gd name="connsiteX68" fmla="*/ 474244 w 885825"/>
                  <a:gd name="connsiteY68" fmla="*/ 639057 h 1647825"/>
                  <a:gd name="connsiteX69" fmla="*/ 500914 w 885825"/>
                  <a:gd name="connsiteY69" fmla="*/ 635247 h 1647825"/>
                  <a:gd name="connsiteX70" fmla="*/ 503771 w 885825"/>
                  <a:gd name="connsiteY70" fmla="*/ 658107 h 1647825"/>
                  <a:gd name="connsiteX71" fmla="*/ 231356 w 885825"/>
                  <a:gd name="connsiteY71" fmla="*/ 728592 h 1647825"/>
                  <a:gd name="connsiteX72" fmla="*/ 160871 w 885825"/>
                  <a:gd name="connsiteY72" fmla="*/ 820032 h 1647825"/>
                  <a:gd name="connsiteX73" fmla="*/ 132296 w 885825"/>
                  <a:gd name="connsiteY73" fmla="*/ 830509 h 1647825"/>
                  <a:gd name="connsiteX74" fmla="*/ 101816 w 885825"/>
                  <a:gd name="connsiteY74" fmla="*/ 835272 h 1647825"/>
                  <a:gd name="connsiteX75" fmla="*/ 97054 w 885825"/>
                  <a:gd name="connsiteY75" fmla="*/ 799077 h 1647825"/>
                  <a:gd name="connsiteX76" fmla="*/ 124676 w 885825"/>
                  <a:gd name="connsiteY76" fmla="*/ 796219 h 1647825"/>
                  <a:gd name="connsiteX77" fmla="*/ 147536 w 885825"/>
                  <a:gd name="connsiteY77" fmla="*/ 786694 h 1647825"/>
                  <a:gd name="connsiteX78" fmla="*/ 198019 w 885825"/>
                  <a:gd name="connsiteY78" fmla="*/ 706684 h 1647825"/>
                  <a:gd name="connsiteX79" fmla="*/ 158014 w 885825"/>
                  <a:gd name="connsiteY79" fmla="*/ 661917 h 1647825"/>
                  <a:gd name="connsiteX80" fmla="*/ 143726 w 885825"/>
                  <a:gd name="connsiteY80" fmla="*/ 637152 h 1647825"/>
                  <a:gd name="connsiteX81" fmla="*/ 134201 w 885825"/>
                  <a:gd name="connsiteY81" fmla="*/ 611434 h 1647825"/>
                  <a:gd name="connsiteX82" fmla="*/ 127534 w 885825"/>
                  <a:gd name="connsiteY82" fmla="*/ 584764 h 1647825"/>
                  <a:gd name="connsiteX83" fmla="*/ 158966 w 885825"/>
                  <a:gd name="connsiteY83" fmla="*/ 432364 h 1647825"/>
                  <a:gd name="connsiteX84" fmla="*/ 177064 w 885825"/>
                  <a:gd name="connsiteY84" fmla="*/ 407599 h 1647825"/>
                  <a:gd name="connsiteX85" fmla="*/ 249454 w 885825"/>
                  <a:gd name="connsiteY85" fmla="*/ 353307 h 1647825"/>
                  <a:gd name="connsiteX86" fmla="*/ 126581 w 885825"/>
                  <a:gd name="connsiteY86" fmla="*/ 164712 h 1647825"/>
                  <a:gd name="connsiteX87" fmla="*/ 141821 w 885825"/>
                  <a:gd name="connsiteY87" fmla="*/ 146614 h 1647825"/>
                  <a:gd name="connsiteX88" fmla="*/ 162776 w 885825"/>
                  <a:gd name="connsiteY88" fmla="*/ 163759 h 1647825"/>
                  <a:gd name="connsiteX89" fmla="*/ 166586 w 885825"/>
                  <a:gd name="connsiteY89" fmla="*/ 198049 h 1647825"/>
                  <a:gd name="connsiteX90" fmla="*/ 334226 w 885825"/>
                  <a:gd name="connsiteY90" fmla="*/ 335209 h 1647825"/>
                  <a:gd name="connsiteX91" fmla="*/ 364706 w 885825"/>
                  <a:gd name="connsiteY91" fmla="*/ 332352 h 1647825"/>
                  <a:gd name="connsiteX92" fmla="*/ 479959 w 885825"/>
                  <a:gd name="connsiteY92" fmla="*/ 253294 h 1647825"/>
                  <a:gd name="connsiteX93" fmla="*/ 493294 w 885825"/>
                  <a:gd name="connsiteY93" fmla="*/ 227577 h 1647825"/>
                  <a:gd name="connsiteX94" fmla="*/ 261836 w 885825"/>
                  <a:gd name="connsiteY94" fmla="*/ 8502 h 1647825"/>
                  <a:gd name="connsiteX95" fmla="*/ 228499 w 885825"/>
                  <a:gd name="connsiteY95" fmla="*/ 12312 h 1647825"/>
                  <a:gd name="connsiteX96" fmla="*/ 135154 w 885825"/>
                  <a:gd name="connsiteY96" fmla="*/ 50412 h 1647825"/>
                  <a:gd name="connsiteX97" fmla="*/ 108484 w 885825"/>
                  <a:gd name="connsiteY97" fmla="*/ 71367 h 1647825"/>
                  <a:gd name="connsiteX98" fmla="*/ 30379 w 885825"/>
                  <a:gd name="connsiteY98" fmla="*/ 221862 h 1647825"/>
                  <a:gd name="connsiteX99" fmla="*/ 28474 w 885825"/>
                  <a:gd name="connsiteY99" fmla="*/ 220909 h 1647825"/>
                  <a:gd name="connsiteX100" fmla="*/ 28474 w 885825"/>
                  <a:gd name="connsiteY100" fmla="*/ 280917 h 1647825"/>
                  <a:gd name="connsiteX101" fmla="*/ 28474 w 885825"/>
                  <a:gd name="connsiteY101" fmla="*/ 311397 h 1647825"/>
                  <a:gd name="connsiteX102" fmla="*/ 17044 w 885825"/>
                  <a:gd name="connsiteY102" fmla="*/ 619054 h 1647825"/>
                  <a:gd name="connsiteX103" fmla="*/ 21806 w 885825"/>
                  <a:gd name="connsiteY103" fmla="*/ 650487 h 1647825"/>
                  <a:gd name="connsiteX104" fmla="*/ 28474 w 885825"/>
                  <a:gd name="connsiteY104" fmla="*/ 681919 h 1647825"/>
                  <a:gd name="connsiteX105" fmla="*/ 29426 w 885825"/>
                  <a:gd name="connsiteY105" fmla="*/ 707637 h 1647825"/>
                  <a:gd name="connsiteX106" fmla="*/ 38951 w 885825"/>
                  <a:gd name="connsiteY106" fmla="*/ 891469 h 1647825"/>
                  <a:gd name="connsiteX107" fmla="*/ 117056 w 885825"/>
                  <a:gd name="connsiteY107" fmla="*/ 857179 h 1647825"/>
                  <a:gd name="connsiteX108" fmla="*/ 147536 w 885825"/>
                  <a:gd name="connsiteY108" fmla="*/ 854322 h 1647825"/>
                  <a:gd name="connsiteX109" fmla="*/ 174206 w 885825"/>
                  <a:gd name="connsiteY109" fmla="*/ 859084 h 1647825"/>
                  <a:gd name="connsiteX110" fmla="*/ 280886 w 885825"/>
                  <a:gd name="connsiteY110" fmla="*/ 1049584 h 1647825"/>
                  <a:gd name="connsiteX111" fmla="*/ 266599 w 885825"/>
                  <a:gd name="connsiteY111" fmla="*/ 1060062 h 1647825"/>
                  <a:gd name="connsiteX112" fmla="*/ 255169 w 885825"/>
                  <a:gd name="connsiteY112" fmla="*/ 1042917 h 1647825"/>
                  <a:gd name="connsiteX113" fmla="*/ 166586 w 885825"/>
                  <a:gd name="connsiteY113" fmla="*/ 884802 h 1647825"/>
                  <a:gd name="connsiteX114" fmla="*/ 139916 w 885825"/>
                  <a:gd name="connsiteY114" fmla="*/ 880039 h 1647825"/>
                  <a:gd name="connsiteX115" fmla="*/ 115151 w 885825"/>
                  <a:gd name="connsiteY115" fmla="*/ 880039 h 1647825"/>
                  <a:gd name="connsiteX116" fmla="*/ 94196 w 885825"/>
                  <a:gd name="connsiteY116" fmla="*/ 885754 h 1647825"/>
                  <a:gd name="connsiteX117" fmla="*/ 29426 w 885825"/>
                  <a:gd name="connsiteY117" fmla="*/ 975289 h 1647825"/>
                  <a:gd name="connsiteX118" fmla="*/ 23711 w 885825"/>
                  <a:gd name="connsiteY118" fmla="*/ 1006722 h 1647825"/>
                  <a:gd name="connsiteX119" fmla="*/ 26569 w 885825"/>
                  <a:gd name="connsiteY119" fmla="*/ 1287709 h 1647825"/>
                  <a:gd name="connsiteX120" fmla="*/ 26569 w 885825"/>
                  <a:gd name="connsiteY120" fmla="*/ 1312475 h 1647825"/>
                  <a:gd name="connsiteX121" fmla="*/ 136106 w 885825"/>
                  <a:gd name="connsiteY121" fmla="*/ 1281042 h 1647825"/>
                  <a:gd name="connsiteX122" fmla="*/ 320891 w 885825"/>
                  <a:gd name="connsiteY122" fmla="*/ 1394389 h 1647825"/>
                  <a:gd name="connsiteX123" fmla="*/ 721894 w 885825"/>
                  <a:gd name="connsiteY123" fmla="*/ 944809 h 1647825"/>
                  <a:gd name="connsiteX124" fmla="*/ 740944 w 885825"/>
                  <a:gd name="connsiteY124" fmla="*/ 702874 h 1647825"/>
                  <a:gd name="connsiteX125" fmla="*/ 733324 w 885825"/>
                  <a:gd name="connsiteY125" fmla="*/ 694302 h 1647825"/>
                  <a:gd name="connsiteX126" fmla="*/ 733324 w 885825"/>
                  <a:gd name="connsiteY126" fmla="*/ 693349 h 1647825"/>
                  <a:gd name="connsiteX127" fmla="*/ 752374 w 885825"/>
                  <a:gd name="connsiteY127" fmla="*/ 663822 h 1647825"/>
                  <a:gd name="connsiteX128" fmla="*/ 753326 w 885825"/>
                  <a:gd name="connsiteY128" fmla="*/ 663822 h 1647825"/>
                  <a:gd name="connsiteX129" fmla="*/ 768566 w 885825"/>
                  <a:gd name="connsiteY129" fmla="*/ 680014 h 1647825"/>
                  <a:gd name="connsiteX130" fmla="*/ 746659 w 885825"/>
                  <a:gd name="connsiteY130" fmla="*/ 970527 h 1647825"/>
                  <a:gd name="connsiteX131" fmla="*/ 722846 w 885825"/>
                  <a:gd name="connsiteY131" fmla="*/ 971479 h 1647825"/>
                  <a:gd name="connsiteX132" fmla="*/ 721894 w 885825"/>
                  <a:gd name="connsiteY132" fmla="*/ 944809 h 164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885825" h="1647825">
                    <a:moveTo>
                      <a:pt x="320891" y="1394389"/>
                    </a:moveTo>
                    <a:cubicBezTo>
                      <a:pt x="325654" y="1403914"/>
                      <a:pt x="330416" y="1413439"/>
                      <a:pt x="333274" y="1423917"/>
                    </a:cubicBezTo>
                    <a:cubicBezTo>
                      <a:pt x="336131" y="1431537"/>
                      <a:pt x="338036" y="1440109"/>
                      <a:pt x="339941" y="1448682"/>
                    </a:cubicBezTo>
                    <a:cubicBezTo>
                      <a:pt x="342799" y="1463922"/>
                      <a:pt x="342799" y="1482972"/>
                      <a:pt x="333274" y="1502022"/>
                    </a:cubicBezTo>
                    <a:cubicBezTo>
                      <a:pt x="320891" y="1503927"/>
                      <a:pt x="314224" y="1502022"/>
                      <a:pt x="309461" y="1498212"/>
                    </a:cubicBezTo>
                    <a:cubicBezTo>
                      <a:pt x="296126" y="1484877"/>
                      <a:pt x="308509" y="1446777"/>
                      <a:pt x="294221" y="1422964"/>
                    </a:cubicBezTo>
                    <a:cubicBezTo>
                      <a:pt x="289459" y="1412487"/>
                      <a:pt x="284696" y="1402962"/>
                      <a:pt x="278029" y="1393437"/>
                    </a:cubicBezTo>
                    <a:cubicBezTo>
                      <a:pt x="247549" y="1347717"/>
                      <a:pt x="195161" y="1318189"/>
                      <a:pt x="136106" y="1318189"/>
                    </a:cubicBezTo>
                    <a:cubicBezTo>
                      <a:pt x="129439" y="1318189"/>
                      <a:pt x="121819" y="1318189"/>
                      <a:pt x="115151" y="1319142"/>
                    </a:cubicBezTo>
                    <a:cubicBezTo>
                      <a:pt x="108484" y="1320095"/>
                      <a:pt x="101816" y="1321047"/>
                      <a:pt x="95149" y="1322952"/>
                    </a:cubicBezTo>
                    <a:cubicBezTo>
                      <a:pt x="8471" y="1340097"/>
                      <a:pt x="-1054" y="1425822"/>
                      <a:pt x="27521" y="1492497"/>
                    </a:cubicBezTo>
                    <a:cubicBezTo>
                      <a:pt x="45619" y="1534407"/>
                      <a:pt x="74194" y="1564887"/>
                      <a:pt x="108484" y="1585842"/>
                    </a:cubicBezTo>
                    <a:cubicBezTo>
                      <a:pt x="115151" y="1589652"/>
                      <a:pt x="122771" y="1593462"/>
                      <a:pt x="129439" y="1597272"/>
                    </a:cubicBezTo>
                    <a:cubicBezTo>
                      <a:pt x="187541" y="1637277"/>
                      <a:pt x="262789" y="1653470"/>
                      <a:pt x="327559" y="1637277"/>
                    </a:cubicBezTo>
                    <a:cubicBezTo>
                      <a:pt x="338036" y="1634420"/>
                      <a:pt x="348514" y="1631562"/>
                      <a:pt x="358991" y="1626800"/>
                    </a:cubicBezTo>
                    <a:cubicBezTo>
                      <a:pt x="464719" y="1596320"/>
                      <a:pt x="512344" y="1501070"/>
                      <a:pt x="503771" y="1392484"/>
                    </a:cubicBezTo>
                    <a:cubicBezTo>
                      <a:pt x="503771" y="1384864"/>
                      <a:pt x="503771" y="1378197"/>
                      <a:pt x="502819" y="1370577"/>
                    </a:cubicBezTo>
                    <a:cubicBezTo>
                      <a:pt x="501866" y="1362957"/>
                      <a:pt x="500914" y="1356289"/>
                      <a:pt x="499961" y="1349622"/>
                    </a:cubicBezTo>
                    <a:cubicBezTo>
                      <a:pt x="503771" y="1349622"/>
                      <a:pt x="507581" y="1349622"/>
                      <a:pt x="512344" y="1349622"/>
                    </a:cubicBezTo>
                    <a:cubicBezTo>
                      <a:pt x="522821" y="1349622"/>
                      <a:pt x="534251" y="1348670"/>
                      <a:pt x="544729" y="1346764"/>
                    </a:cubicBezTo>
                    <a:cubicBezTo>
                      <a:pt x="627596" y="1339145"/>
                      <a:pt x="694271" y="1272470"/>
                      <a:pt x="713321" y="1186744"/>
                    </a:cubicBezTo>
                    <a:cubicBezTo>
                      <a:pt x="732371" y="1072444"/>
                      <a:pt x="637121" y="1072444"/>
                      <a:pt x="570446" y="1024819"/>
                    </a:cubicBezTo>
                    <a:cubicBezTo>
                      <a:pt x="551396" y="1101019"/>
                      <a:pt x="503771" y="1167694"/>
                      <a:pt x="426619" y="1182934"/>
                    </a:cubicBezTo>
                    <a:cubicBezTo>
                      <a:pt x="417094" y="1185792"/>
                      <a:pt x="407569" y="1187697"/>
                      <a:pt x="398044" y="1188650"/>
                    </a:cubicBezTo>
                    <a:cubicBezTo>
                      <a:pt x="388519" y="1189602"/>
                      <a:pt x="378994" y="1190554"/>
                      <a:pt x="368516" y="1190554"/>
                    </a:cubicBezTo>
                    <a:cubicBezTo>
                      <a:pt x="311366" y="1190554"/>
                      <a:pt x="259931" y="1167694"/>
                      <a:pt x="222784" y="1130547"/>
                    </a:cubicBezTo>
                    <a:cubicBezTo>
                      <a:pt x="215164" y="1122927"/>
                      <a:pt x="208496" y="1115307"/>
                      <a:pt x="201829" y="1106734"/>
                    </a:cubicBezTo>
                    <a:cubicBezTo>
                      <a:pt x="189446" y="1072444"/>
                      <a:pt x="160871" y="1053394"/>
                      <a:pt x="164681" y="1018152"/>
                    </a:cubicBezTo>
                    <a:cubicBezTo>
                      <a:pt x="162776" y="1007674"/>
                      <a:pt x="161824" y="996244"/>
                      <a:pt x="161824" y="984814"/>
                    </a:cubicBezTo>
                    <a:cubicBezTo>
                      <a:pt x="161824" y="976242"/>
                      <a:pt x="168491" y="967669"/>
                      <a:pt x="177064" y="966717"/>
                    </a:cubicBezTo>
                    <a:cubicBezTo>
                      <a:pt x="188494" y="964812"/>
                      <a:pt x="198019" y="973384"/>
                      <a:pt x="198019" y="983862"/>
                    </a:cubicBezTo>
                    <a:cubicBezTo>
                      <a:pt x="198019" y="1078159"/>
                      <a:pt x="275171" y="1155312"/>
                      <a:pt x="369469" y="1155312"/>
                    </a:cubicBezTo>
                    <a:cubicBezTo>
                      <a:pt x="380899" y="1155312"/>
                      <a:pt x="392329" y="1154359"/>
                      <a:pt x="403759" y="1151502"/>
                    </a:cubicBezTo>
                    <a:cubicBezTo>
                      <a:pt x="415189" y="1149597"/>
                      <a:pt x="425666" y="1145787"/>
                      <a:pt x="435191" y="1141977"/>
                    </a:cubicBezTo>
                    <a:cubicBezTo>
                      <a:pt x="485674" y="1129594"/>
                      <a:pt x="514249" y="1101019"/>
                      <a:pt x="525679" y="1053394"/>
                    </a:cubicBezTo>
                    <a:cubicBezTo>
                      <a:pt x="530441" y="1042917"/>
                      <a:pt x="533299" y="1032439"/>
                      <a:pt x="536156" y="1021962"/>
                    </a:cubicBezTo>
                    <a:cubicBezTo>
                      <a:pt x="539014" y="1011484"/>
                      <a:pt x="539966" y="1000054"/>
                      <a:pt x="539966" y="988624"/>
                    </a:cubicBezTo>
                    <a:cubicBezTo>
                      <a:pt x="517106" y="955287"/>
                      <a:pt x="503771" y="915282"/>
                      <a:pt x="503771" y="872419"/>
                    </a:cubicBezTo>
                    <a:cubicBezTo>
                      <a:pt x="503771" y="863847"/>
                      <a:pt x="510439" y="855274"/>
                      <a:pt x="519011" y="854322"/>
                    </a:cubicBezTo>
                    <a:cubicBezTo>
                      <a:pt x="530441" y="852417"/>
                      <a:pt x="539966" y="860989"/>
                      <a:pt x="539966" y="871467"/>
                    </a:cubicBezTo>
                    <a:cubicBezTo>
                      <a:pt x="539966" y="965764"/>
                      <a:pt x="617119" y="1042917"/>
                      <a:pt x="711416" y="1042917"/>
                    </a:cubicBezTo>
                    <a:cubicBezTo>
                      <a:pt x="715226" y="1042917"/>
                      <a:pt x="718084" y="1042917"/>
                      <a:pt x="721894" y="1042917"/>
                    </a:cubicBezTo>
                    <a:cubicBezTo>
                      <a:pt x="813334" y="1009579"/>
                      <a:pt x="879056" y="921949"/>
                      <a:pt x="879056" y="818127"/>
                    </a:cubicBezTo>
                    <a:cubicBezTo>
                      <a:pt x="879056" y="721924"/>
                      <a:pt x="821906" y="639057"/>
                      <a:pt x="739991" y="600957"/>
                    </a:cubicBezTo>
                    <a:cubicBezTo>
                      <a:pt x="718084" y="612387"/>
                      <a:pt x="693319" y="618102"/>
                      <a:pt x="666649" y="618102"/>
                    </a:cubicBezTo>
                    <a:cubicBezTo>
                      <a:pt x="637121" y="618102"/>
                      <a:pt x="608546" y="610482"/>
                      <a:pt x="583781" y="597147"/>
                    </a:cubicBezTo>
                    <a:cubicBezTo>
                      <a:pt x="575209" y="592384"/>
                      <a:pt x="567589" y="587622"/>
                      <a:pt x="559969" y="580954"/>
                    </a:cubicBezTo>
                    <a:cubicBezTo>
                      <a:pt x="523774" y="539044"/>
                      <a:pt x="485674" y="481894"/>
                      <a:pt x="495199" y="424744"/>
                    </a:cubicBezTo>
                    <a:cubicBezTo>
                      <a:pt x="495199" y="415219"/>
                      <a:pt x="514249" y="415219"/>
                      <a:pt x="523774" y="415219"/>
                    </a:cubicBezTo>
                    <a:cubicBezTo>
                      <a:pt x="523774" y="434269"/>
                      <a:pt x="523774" y="443794"/>
                      <a:pt x="533299" y="465702"/>
                    </a:cubicBezTo>
                    <a:cubicBezTo>
                      <a:pt x="535204" y="474274"/>
                      <a:pt x="538061" y="482847"/>
                      <a:pt x="540919" y="490467"/>
                    </a:cubicBezTo>
                    <a:cubicBezTo>
                      <a:pt x="555206" y="530472"/>
                      <a:pt x="579019" y="564762"/>
                      <a:pt x="624739" y="575239"/>
                    </a:cubicBezTo>
                    <a:cubicBezTo>
                      <a:pt x="631406" y="577144"/>
                      <a:pt x="639026" y="579049"/>
                      <a:pt x="645694" y="580002"/>
                    </a:cubicBezTo>
                    <a:cubicBezTo>
                      <a:pt x="653314" y="580954"/>
                      <a:pt x="659981" y="581907"/>
                      <a:pt x="667601" y="581907"/>
                    </a:cubicBezTo>
                    <a:cubicBezTo>
                      <a:pt x="672364" y="581907"/>
                      <a:pt x="677126" y="581907"/>
                      <a:pt x="682841" y="580954"/>
                    </a:cubicBezTo>
                    <a:cubicBezTo>
                      <a:pt x="692366" y="565714"/>
                      <a:pt x="699034" y="549522"/>
                      <a:pt x="703796" y="532377"/>
                    </a:cubicBezTo>
                    <a:cubicBezTo>
                      <a:pt x="706654" y="523804"/>
                      <a:pt x="708559" y="515232"/>
                      <a:pt x="709511" y="505707"/>
                    </a:cubicBezTo>
                    <a:cubicBezTo>
                      <a:pt x="723799" y="461892"/>
                      <a:pt x="714274" y="423792"/>
                      <a:pt x="704749" y="376167"/>
                    </a:cubicBezTo>
                    <a:cubicBezTo>
                      <a:pt x="676174" y="299967"/>
                      <a:pt x="590449" y="280917"/>
                      <a:pt x="513296" y="293299"/>
                    </a:cubicBezTo>
                    <a:cubicBezTo>
                      <a:pt x="504724" y="295204"/>
                      <a:pt x="496151" y="299014"/>
                      <a:pt x="487579" y="301872"/>
                    </a:cubicBezTo>
                    <a:cubicBezTo>
                      <a:pt x="444716" y="319017"/>
                      <a:pt x="399949" y="347592"/>
                      <a:pt x="352324" y="368547"/>
                    </a:cubicBezTo>
                    <a:cubicBezTo>
                      <a:pt x="345656" y="369499"/>
                      <a:pt x="338989" y="370452"/>
                      <a:pt x="333274" y="370452"/>
                    </a:cubicBezTo>
                    <a:cubicBezTo>
                      <a:pt x="274219" y="370452"/>
                      <a:pt x="221831" y="400932"/>
                      <a:pt x="191351" y="445699"/>
                    </a:cubicBezTo>
                    <a:cubicBezTo>
                      <a:pt x="185636" y="455224"/>
                      <a:pt x="179921" y="464749"/>
                      <a:pt x="175159" y="475227"/>
                    </a:cubicBezTo>
                    <a:cubicBezTo>
                      <a:pt x="161824" y="519042"/>
                      <a:pt x="152299" y="557142"/>
                      <a:pt x="175159" y="608577"/>
                    </a:cubicBezTo>
                    <a:cubicBezTo>
                      <a:pt x="179921" y="619054"/>
                      <a:pt x="184684" y="628579"/>
                      <a:pt x="191351" y="638104"/>
                    </a:cubicBezTo>
                    <a:cubicBezTo>
                      <a:pt x="221831" y="684777"/>
                      <a:pt x="274219" y="715257"/>
                      <a:pt x="332321" y="716209"/>
                    </a:cubicBezTo>
                    <a:cubicBezTo>
                      <a:pt x="336131" y="716209"/>
                      <a:pt x="339941" y="714304"/>
                      <a:pt x="343751" y="717162"/>
                    </a:cubicBezTo>
                    <a:cubicBezTo>
                      <a:pt x="395186" y="712399"/>
                      <a:pt x="444716" y="685729"/>
                      <a:pt x="474244" y="639057"/>
                    </a:cubicBezTo>
                    <a:cubicBezTo>
                      <a:pt x="479959" y="630484"/>
                      <a:pt x="492341" y="627627"/>
                      <a:pt x="500914" y="635247"/>
                    </a:cubicBezTo>
                    <a:cubicBezTo>
                      <a:pt x="507581" y="640962"/>
                      <a:pt x="508534" y="651439"/>
                      <a:pt x="503771" y="658107"/>
                    </a:cubicBezTo>
                    <a:cubicBezTo>
                      <a:pt x="444716" y="749547"/>
                      <a:pt x="325654" y="779074"/>
                      <a:pt x="231356" y="728592"/>
                    </a:cubicBezTo>
                    <a:cubicBezTo>
                      <a:pt x="222784" y="768597"/>
                      <a:pt x="196114" y="801934"/>
                      <a:pt x="160871" y="820032"/>
                    </a:cubicBezTo>
                    <a:cubicBezTo>
                      <a:pt x="152299" y="824794"/>
                      <a:pt x="142774" y="828604"/>
                      <a:pt x="132296" y="830509"/>
                    </a:cubicBezTo>
                    <a:cubicBezTo>
                      <a:pt x="123724" y="837177"/>
                      <a:pt x="111341" y="838129"/>
                      <a:pt x="101816" y="835272"/>
                    </a:cubicBezTo>
                    <a:cubicBezTo>
                      <a:pt x="85624" y="824794"/>
                      <a:pt x="76099" y="815269"/>
                      <a:pt x="97054" y="799077"/>
                    </a:cubicBezTo>
                    <a:cubicBezTo>
                      <a:pt x="104674" y="794314"/>
                      <a:pt x="114199" y="791457"/>
                      <a:pt x="124676" y="796219"/>
                    </a:cubicBezTo>
                    <a:cubicBezTo>
                      <a:pt x="132296" y="794314"/>
                      <a:pt x="140869" y="790504"/>
                      <a:pt x="147536" y="786694"/>
                    </a:cubicBezTo>
                    <a:cubicBezTo>
                      <a:pt x="176111" y="770502"/>
                      <a:pt x="196114" y="740974"/>
                      <a:pt x="198019" y="706684"/>
                    </a:cubicBezTo>
                    <a:cubicBezTo>
                      <a:pt x="181826" y="693349"/>
                      <a:pt x="168491" y="678109"/>
                      <a:pt x="158014" y="661917"/>
                    </a:cubicBezTo>
                    <a:cubicBezTo>
                      <a:pt x="152299" y="653344"/>
                      <a:pt x="147536" y="645724"/>
                      <a:pt x="143726" y="637152"/>
                    </a:cubicBezTo>
                    <a:cubicBezTo>
                      <a:pt x="139916" y="628579"/>
                      <a:pt x="137059" y="620007"/>
                      <a:pt x="134201" y="611434"/>
                    </a:cubicBezTo>
                    <a:cubicBezTo>
                      <a:pt x="131344" y="602862"/>
                      <a:pt x="129439" y="593337"/>
                      <a:pt x="127534" y="584764"/>
                    </a:cubicBezTo>
                    <a:cubicBezTo>
                      <a:pt x="123724" y="530472"/>
                      <a:pt x="114199" y="473322"/>
                      <a:pt x="158966" y="432364"/>
                    </a:cubicBezTo>
                    <a:cubicBezTo>
                      <a:pt x="164681" y="423792"/>
                      <a:pt x="170396" y="415219"/>
                      <a:pt x="177064" y="407599"/>
                    </a:cubicBezTo>
                    <a:cubicBezTo>
                      <a:pt x="197066" y="384739"/>
                      <a:pt x="221831" y="365689"/>
                      <a:pt x="249454" y="353307"/>
                    </a:cubicBezTo>
                    <a:cubicBezTo>
                      <a:pt x="177064" y="320922"/>
                      <a:pt x="126581" y="248532"/>
                      <a:pt x="126581" y="164712"/>
                    </a:cubicBezTo>
                    <a:cubicBezTo>
                      <a:pt x="126581" y="156139"/>
                      <a:pt x="133249" y="147567"/>
                      <a:pt x="141821" y="146614"/>
                    </a:cubicBezTo>
                    <a:cubicBezTo>
                      <a:pt x="153251" y="144709"/>
                      <a:pt x="162776" y="153282"/>
                      <a:pt x="162776" y="163759"/>
                    </a:cubicBezTo>
                    <a:cubicBezTo>
                      <a:pt x="162776" y="175189"/>
                      <a:pt x="163729" y="187572"/>
                      <a:pt x="166586" y="198049"/>
                    </a:cubicBezTo>
                    <a:cubicBezTo>
                      <a:pt x="182779" y="276154"/>
                      <a:pt x="251359" y="335209"/>
                      <a:pt x="334226" y="335209"/>
                    </a:cubicBezTo>
                    <a:cubicBezTo>
                      <a:pt x="344704" y="335209"/>
                      <a:pt x="354229" y="334257"/>
                      <a:pt x="364706" y="332352"/>
                    </a:cubicBezTo>
                    <a:cubicBezTo>
                      <a:pt x="410426" y="328542"/>
                      <a:pt x="458051" y="290442"/>
                      <a:pt x="479959" y="253294"/>
                    </a:cubicBezTo>
                    <a:cubicBezTo>
                      <a:pt x="484721" y="244722"/>
                      <a:pt x="489484" y="236149"/>
                      <a:pt x="493294" y="227577"/>
                    </a:cubicBezTo>
                    <a:cubicBezTo>
                      <a:pt x="524726" y="80892"/>
                      <a:pt x="381851" y="-4833"/>
                      <a:pt x="261836" y="8502"/>
                    </a:cubicBezTo>
                    <a:cubicBezTo>
                      <a:pt x="250406" y="8502"/>
                      <a:pt x="239929" y="10407"/>
                      <a:pt x="228499" y="12312"/>
                    </a:cubicBezTo>
                    <a:cubicBezTo>
                      <a:pt x="195161" y="18027"/>
                      <a:pt x="163729" y="30409"/>
                      <a:pt x="135154" y="50412"/>
                    </a:cubicBezTo>
                    <a:cubicBezTo>
                      <a:pt x="125629" y="57079"/>
                      <a:pt x="117056" y="63747"/>
                      <a:pt x="108484" y="71367"/>
                    </a:cubicBezTo>
                    <a:cubicBezTo>
                      <a:pt x="66574" y="109467"/>
                      <a:pt x="37046" y="161854"/>
                      <a:pt x="30379" y="221862"/>
                    </a:cubicBezTo>
                    <a:lnTo>
                      <a:pt x="28474" y="220909"/>
                    </a:lnTo>
                    <a:cubicBezTo>
                      <a:pt x="28474" y="220909"/>
                      <a:pt x="28474" y="243769"/>
                      <a:pt x="28474" y="280917"/>
                    </a:cubicBezTo>
                    <a:cubicBezTo>
                      <a:pt x="28474" y="290442"/>
                      <a:pt x="28474" y="299967"/>
                      <a:pt x="28474" y="311397"/>
                    </a:cubicBezTo>
                    <a:cubicBezTo>
                      <a:pt x="20854" y="415219"/>
                      <a:pt x="-7721" y="510469"/>
                      <a:pt x="17044" y="619054"/>
                    </a:cubicBezTo>
                    <a:cubicBezTo>
                      <a:pt x="17996" y="629532"/>
                      <a:pt x="19901" y="640009"/>
                      <a:pt x="21806" y="650487"/>
                    </a:cubicBezTo>
                    <a:cubicBezTo>
                      <a:pt x="23711" y="660964"/>
                      <a:pt x="25616" y="671442"/>
                      <a:pt x="28474" y="681919"/>
                    </a:cubicBezTo>
                    <a:cubicBezTo>
                      <a:pt x="28474" y="690492"/>
                      <a:pt x="29426" y="699064"/>
                      <a:pt x="29426" y="707637"/>
                    </a:cubicBezTo>
                    <a:cubicBezTo>
                      <a:pt x="29426" y="767644"/>
                      <a:pt x="58001" y="834319"/>
                      <a:pt x="38951" y="891469"/>
                    </a:cubicBezTo>
                    <a:cubicBezTo>
                      <a:pt x="67526" y="891469"/>
                      <a:pt x="86576" y="853369"/>
                      <a:pt x="117056" y="857179"/>
                    </a:cubicBezTo>
                    <a:cubicBezTo>
                      <a:pt x="126581" y="855274"/>
                      <a:pt x="137059" y="854322"/>
                      <a:pt x="147536" y="854322"/>
                    </a:cubicBezTo>
                    <a:cubicBezTo>
                      <a:pt x="156109" y="855274"/>
                      <a:pt x="165634" y="857179"/>
                      <a:pt x="174206" y="859084"/>
                    </a:cubicBezTo>
                    <a:cubicBezTo>
                      <a:pt x="256121" y="881944"/>
                      <a:pt x="303746" y="967669"/>
                      <a:pt x="280886" y="1049584"/>
                    </a:cubicBezTo>
                    <a:cubicBezTo>
                      <a:pt x="278981" y="1056252"/>
                      <a:pt x="273266" y="1060062"/>
                      <a:pt x="266599" y="1060062"/>
                    </a:cubicBezTo>
                    <a:cubicBezTo>
                      <a:pt x="258026" y="1059109"/>
                      <a:pt x="253264" y="1050537"/>
                      <a:pt x="255169" y="1042917"/>
                    </a:cubicBezTo>
                    <a:cubicBezTo>
                      <a:pt x="274219" y="974337"/>
                      <a:pt x="235166" y="903852"/>
                      <a:pt x="166586" y="884802"/>
                    </a:cubicBezTo>
                    <a:cubicBezTo>
                      <a:pt x="158014" y="881944"/>
                      <a:pt x="148489" y="880992"/>
                      <a:pt x="139916" y="880039"/>
                    </a:cubicBezTo>
                    <a:cubicBezTo>
                      <a:pt x="131344" y="879087"/>
                      <a:pt x="122771" y="879087"/>
                      <a:pt x="115151" y="880039"/>
                    </a:cubicBezTo>
                    <a:cubicBezTo>
                      <a:pt x="107531" y="880992"/>
                      <a:pt x="99911" y="882897"/>
                      <a:pt x="94196" y="885754"/>
                    </a:cubicBezTo>
                    <a:cubicBezTo>
                      <a:pt x="57049" y="900042"/>
                      <a:pt x="37999" y="938142"/>
                      <a:pt x="29426" y="975289"/>
                    </a:cubicBezTo>
                    <a:cubicBezTo>
                      <a:pt x="27521" y="985767"/>
                      <a:pt x="25616" y="996244"/>
                      <a:pt x="23711" y="1006722"/>
                    </a:cubicBezTo>
                    <a:cubicBezTo>
                      <a:pt x="9424" y="1101019"/>
                      <a:pt x="11329" y="1195317"/>
                      <a:pt x="26569" y="1287709"/>
                    </a:cubicBezTo>
                    <a:cubicBezTo>
                      <a:pt x="26569" y="1302950"/>
                      <a:pt x="26569" y="1312475"/>
                      <a:pt x="26569" y="1312475"/>
                    </a:cubicBezTo>
                    <a:cubicBezTo>
                      <a:pt x="58001" y="1292472"/>
                      <a:pt x="96101" y="1281042"/>
                      <a:pt x="136106" y="1281042"/>
                    </a:cubicBezTo>
                    <a:cubicBezTo>
                      <a:pt x="217069" y="1282947"/>
                      <a:pt x="285649" y="1328667"/>
                      <a:pt x="320891" y="1394389"/>
                    </a:cubicBezTo>
                    <a:close/>
                    <a:moveTo>
                      <a:pt x="721894" y="944809"/>
                    </a:moveTo>
                    <a:cubicBezTo>
                      <a:pt x="793331" y="882897"/>
                      <a:pt x="801904" y="775264"/>
                      <a:pt x="740944" y="702874"/>
                    </a:cubicBezTo>
                    <a:cubicBezTo>
                      <a:pt x="738086" y="700017"/>
                      <a:pt x="736181" y="697159"/>
                      <a:pt x="733324" y="694302"/>
                    </a:cubicBezTo>
                    <a:cubicBezTo>
                      <a:pt x="733324" y="694302"/>
                      <a:pt x="733324" y="694302"/>
                      <a:pt x="733324" y="693349"/>
                    </a:cubicBezTo>
                    <a:lnTo>
                      <a:pt x="752374" y="663822"/>
                    </a:lnTo>
                    <a:cubicBezTo>
                      <a:pt x="752374" y="663822"/>
                      <a:pt x="753326" y="663822"/>
                      <a:pt x="753326" y="663822"/>
                    </a:cubicBezTo>
                    <a:cubicBezTo>
                      <a:pt x="759041" y="668584"/>
                      <a:pt x="763804" y="674299"/>
                      <a:pt x="768566" y="680014"/>
                    </a:cubicBezTo>
                    <a:cubicBezTo>
                      <a:pt x="842861" y="766692"/>
                      <a:pt x="832384" y="896232"/>
                      <a:pt x="746659" y="970527"/>
                    </a:cubicBezTo>
                    <a:cubicBezTo>
                      <a:pt x="739991" y="976242"/>
                      <a:pt x="729514" y="977194"/>
                      <a:pt x="722846" y="971479"/>
                    </a:cubicBezTo>
                    <a:cubicBezTo>
                      <a:pt x="713321" y="963859"/>
                      <a:pt x="714274" y="951477"/>
                      <a:pt x="721894" y="944809"/>
                    </a:cubicBezTo>
                    <a:close/>
                  </a:path>
                </a:pathLst>
              </a:custGeom>
              <a:grpFill/>
              <a:ln w="9525" cap="flat">
                <a:noFill/>
                <a:prstDash val="solid"/>
                <a:miter/>
              </a:ln>
            </p:spPr>
            <p:txBody>
              <a:bodyPr rtlCol="0" anchor="ctr"/>
              <a:lstStyle/>
              <a:p>
                <a:endParaRPr lang="en-US" sz="1350" dirty="0">
                  <a:solidFill>
                    <a:prstClr val="black"/>
                  </a:solidFill>
                  <a:latin typeface="Calibri" panose="020F0502020204030204"/>
                </a:endParaRPr>
              </a:p>
            </p:txBody>
          </p:sp>
        </p:grpSp>
      </p:grpSp>
      <p:cxnSp>
        <p:nvCxnSpPr>
          <p:cNvPr id="34" name="Straight Connector 33">
            <a:extLst>
              <a:ext uri="{FF2B5EF4-FFF2-40B4-BE49-F238E27FC236}">
                <a16:creationId xmlns:a16="http://schemas.microsoft.com/office/drawing/2014/main" id="{6C709F0E-375C-457D-B452-3B2809FC8DFA}"/>
              </a:ext>
            </a:extLst>
          </p:cNvPr>
          <p:cNvCxnSpPr>
            <a:cxnSpLocks/>
          </p:cNvCxnSpPr>
          <p:nvPr/>
        </p:nvCxnSpPr>
        <p:spPr>
          <a:xfrm>
            <a:off x="3611835" y="1393018"/>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03949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61616" y="282934"/>
            <a:ext cx="8213225" cy="1325563"/>
          </a:xfrm>
        </p:spPr>
        <p:txBody>
          <a:bodyPr>
            <a:normAutofit/>
          </a:bodyPr>
          <a:lstStyle/>
          <a:p>
            <a:r>
              <a:rPr lang="en-US" sz="3600" b="1" dirty="0">
                <a:solidFill>
                  <a:schemeClr val="bg1"/>
                </a:solidFill>
                <a:latin typeface="+mn-lt"/>
              </a:rPr>
              <a:t>Normative research impact value chain</a:t>
            </a:r>
          </a:p>
        </p:txBody>
      </p:sp>
      <p:graphicFrame>
        <p:nvGraphicFramePr>
          <p:cNvPr id="6" name="Content Placeholder 5"/>
          <p:cNvGraphicFramePr>
            <a:graphicFrameLocks noGrp="1"/>
          </p:cNvGraphicFramePr>
          <p:nvPr>
            <p:ph sz="half" idx="1"/>
            <p:extLst/>
          </p:nvPr>
        </p:nvGraphicFramePr>
        <p:xfrm>
          <a:off x="1893871" y="1366465"/>
          <a:ext cx="8280970" cy="402746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497304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9" name="Picture 198">
            <a:extLst>
              <a:ext uri="{FF2B5EF4-FFF2-40B4-BE49-F238E27FC236}">
                <a16:creationId xmlns:a16="http://schemas.microsoft.com/office/drawing/2014/main" id="{EDE1493D-23B8-4D08-AFAD-AA6DC083F490}"/>
              </a:ext>
            </a:extLst>
          </p:cNvPr>
          <p:cNvPicPr>
            <a:picLocks noChangeAspect="1"/>
          </p:cNvPicPr>
          <p:nvPr/>
        </p:nvPicPr>
        <p:blipFill>
          <a:blip r:embed="rId3">
            <a:extLst>
              <a:ext uri="{28A0092B-C50C-407E-A947-70E740481C1C}">
                <a14:useLocalDpi xmlns:a14="http://schemas.microsoft.com/office/drawing/2010/main" val="0"/>
              </a:ext>
            </a:extLst>
          </a:blip>
          <a:srcRect l="347" t="23507" r="29820" b="35231"/>
          <a:stretch>
            <a:fillRect/>
          </a:stretch>
        </p:blipFill>
        <p:spPr>
          <a:xfrm>
            <a:off x="3328400" y="2523538"/>
            <a:ext cx="4914034" cy="1311494"/>
          </a:xfrm>
          <a:custGeom>
            <a:avLst/>
            <a:gdLst>
              <a:gd name="connsiteX0" fmla="*/ 0 w 4437002"/>
              <a:gd name="connsiteY0" fmla="*/ 0 h 1748659"/>
              <a:gd name="connsiteX1" fmla="*/ 4437002 w 4437002"/>
              <a:gd name="connsiteY1" fmla="*/ 0 h 1748659"/>
              <a:gd name="connsiteX2" fmla="*/ 4437002 w 4437002"/>
              <a:gd name="connsiteY2" fmla="*/ 1748659 h 1748659"/>
              <a:gd name="connsiteX3" fmla="*/ 0 w 4437002"/>
              <a:gd name="connsiteY3" fmla="*/ 1748659 h 1748659"/>
            </a:gdLst>
            <a:ahLst/>
            <a:cxnLst>
              <a:cxn ang="0">
                <a:pos x="connsiteX0" y="connsiteY0"/>
              </a:cxn>
              <a:cxn ang="0">
                <a:pos x="connsiteX1" y="connsiteY1"/>
              </a:cxn>
              <a:cxn ang="0">
                <a:pos x="connsiteX2" y="connsiteY2"/>
              </a:cxn>
              <a:cxn ang="0">
                <a:pos x="connsiteX3" y="connsiteY3"/>
              </a:cxn>
            </a:cxnLst>
            <a:rect l="l" t="t" r="r" b="b"/>
            <a:pathLst>
              <a:path w="4437002" h="1748659">
                <a:moveTo>
                  <a:pt x="0" y="0"/>
                </a:moveTo>
                <a:lnTo>
                  <a:pt x="4437002" y="0"/>
                </a:lnTo>
                <a:lnTo>
                  <a:pt x="4437002" y="1748659"/>
                </a:lnTo>
                <a:lnTo>
                  <a:pt x="0" y="1748659"/>
                </a:lnTo>
                <a:close/>
              </a:path>
            </a:pathLst>
          </a:custGeom>
        </p:spPr>
      </p:pic>
      <p:sp>
        <p:nvSpPr>
          <p:cNvPr id="8" name="Rectangle 7">
            <a:extLst>
              <a:ext uri="{FF2B5EF4-FFF2-40B4-BE49-F238E27FC236}">
                <a16:creationId xmlns:a16="http://schemas.microsoft.com/office/drawing/2014/main" id="{CC3A37EB-780F-4C66-BC0B-8D6E68D75CE6}"/>
              </a:ext>
            </a:extLst>
          </p:cNvPr>
          <p:cNvSpPr/>
          <p:nvPr/>
        </p:nvSpPr>
        <p:spPr>
          <a:xfrm flipH="1">
            <a:off x="3328402" y="2523540"/>
            <a:ext cx="5402297" cy="1311494"/>
          </a:xfrm>
          <a:prstGeom prst="rect">
            <a:avLst/>
          </a:prstGeom>
          <a:gradFill>
            <a:gsLst>
              <a:gs pos="100000">
                <a:srgbClr val="1994CF"/>
              </a:gs>
              <a:gs pos="51000">
                <a:srgbClr val="17A4C6"/>
              </a:gs>
              <a:gs pos="1000">
                <a:srgbClr val="0EB6B9">
                  <a:alpha val="34000"/>
                </a:srgbClr>
              </a:gs>
            </a:gsLst>
            <a:lin ang="108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TextBox 25">
            <a:extLst>
              <a:ext uri="{FF2B5EF4-FFF2-40B4-BE49-F238E27FC236}">
                <a16:creationId xmlns:a16="http://schemas.microsoft.com/office/drawing/2014/main" id="{E07FEFA9-8DB1-4695-92D5-CCE92FF23D1D}"/>
              </a:ext>
            </a:extLst>
          </p:cNvPr>
          <p:cNvSpPr txBox="1"/>
          <p:nvPr/>
        </p:nvSpPr>
        <p:spPr>
          <a:xfrm>
            <a:off x="7635450" y="3116523"/>
            <a:ext cx="1046594" cy="276999"/>
          </a:xfrm>
          <a:prstGeom prst="rect">
            <a:avLst/>
          </a:prstGeom>
          <a:noFill/>
          <a:ln w="6350">
            <a:noFill/>
            <a:prstDash val="dash"/>
          </a:ln>
        </p:spPr>
        <p:txBody>
          <a:bodyPr wrap="square" lIns="0" tIns="0" rIns="0" bIns="0" rtlCol="0">
            <a:spAutoFit/>
          </a:bodyPr>
          <a:lstStyle/>
          <a:p>
            <a:pPr algn="ctr"/>
            <a:r>
              <a:rPr lang="en-US" b="1" dirty="0">
                <a:solidFill>
                  <a:prstClr val="white"/>
                </a:solidFill>
                <a:latin typeface="Calibri" panose="020F0502020204030204"/>
                <a:ea typeface="DengXian" panose="02010600030101010101" pitchFamily="2" charset="-122"/>
              </a:rPr>
              <a:t>Time Lag </a:t>
            </a:r>
          </a:p>
        </p:txBody>
      </p:sp>
      <p:sp>
        <p:nvSpPr>
          <p:cNvPr id="2" name="Title 1">
            <a:extLst>
              <a:ext uri="{FF2B5EF4-FFF2-40B4-BE49-F238E27FC236}">
                <a16:creationId xmlns:a16="http://schemas.microsoft.com/office/drawing/2014/main" id="{D41BFDEA-27B2-4324-AB9C-66242ADDBCD3}"/>
              </a:ext>
            </a:extLst>
          </p:cNvPr>
          <p:cNvSpPr txBox="1">
            <a:spLocks/>
          </p:cNvSpPr>
          <p:nvPr/>
        </p:nvSpPr>
        <p:spPr>
          <a:xfrm>
            <a:off x="1524001" y="232125"/>
            <a:ext cx="9143999" cy="677108"/>
          </a:xfrm>
          <a:prstGeom prst="rect">
            <a:avLst/>
          </a:prstGeom>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US" b="1" dirty="0">
                <a:solidFill>
                  <a:prstClr val="white"/>
                </a:solidFill>
                <a:latin typeface="Calibri" panose="020F0502020204030204"/>
                <a:ea typeface="Segoe UI" panose="020B0502040204020203" pitchFamily="34" charset="0"/>
                <a:cs typeface="Arial" panose="020B0604020202020204" pitchFamily="34" charset="0"/>
              </a:rPr>
              <a:t>Challenges to research impact</a:t>
            </a:r>
          </a:p>
        </p:txBody>
      </p:sp>
      <p:sp>
        <p:nvSpPr>
          <p:cNvPr id="4" name="TextBox 3">
            <a:extLst>
              <a:ext uri="{FF2B5EF4-FFF2-40B4-BE49-F238E27FC236}">
                <a16:creationId xmlns:a16="http://schemas.microsoft.com/office/drawing/2014/main" id="{63876EA6-52A1-43D2-82C2-B68F5DB3FBD3}"/>
              </a:ext>
            </a:extLst>
          </p:cNvPr>
          <p:cNvSpPr txBox="1"/>
          <p:nvPr/>
        </p:nvSpPr>
        <p:spPr>
          <a:xfrm>
            <a:off x="3757661" y="3441344"/>
            <a:ext cx="2710512" cy="369332"/>
          </a:xfrm>
          <a:prstGeom prst="rect">
            <a:avLst/>
          </a:prstGeom>
          <a:noFill/>
        </p:spPr>
        <p:txBody>
          <a:bodyPr wrap="square" rtlCol="0">
            <a:spAutoFit/>
          </a:bodyPr>
          <a:lstStyle/>
          <a:p>
            <a:r>
              <a:rPr lang="en-ZA" b="1" dirty="0">
                <a:solidFill>
                  <a:prstClr val="white"/>
                </a:solidFill>
                <a:latin typeface="Calibri" panose="020F0502020204030204"/>
              </a:rPr>
              <a:t>Impact is Developmental</a:t>
            </a:r>
          </a:p>
        </p:txBody>
      </p:sp>
      <p:cxnSp>
        <p:nvCxnSpPr>
          <p:cNvPr id="24" name="Straight Connector 23">
            <a:extLst>
              <a:ext uri="{FF2B5EF4-FFF2-40B4-BE49-F238E27FC236}">
                <a16:creationId xmlns:a16="http://schemas.microsoft.com/office/drawing/2014/main" id="{D0225B7D-9721-4682-89E9-1C65848A8914}"/>
              </a:ext>
            </a:extLst>
          </p:cNvPr>
          <p:cNvCxnSpPr>
            <a:cxnSpLocks/>
          </p:cNvCxnSpPr>
          <p:nvPr/>
        </p:nvCxnSpPr>
        <p:spPr>
          <a:xfrm>
            <a:off x="3611835" y="912958"/>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pic>
        <p:nvPicPr>
          <p:cNvPr id="17" name="Picture 16" descr="Icon&#10;&#10;Description automatically generated">
            <a:extLst>
              <a:ext uri="{FF2B5EF4-FFF2-40B4-BE49-F238E27FC236}">
                <a16:creationId xmlns:a16="http://schemas.microsoft.com/office/drawing/2014/main" id="{281BD222-1FE9-4AA8-8A79-DEF4EAEA9B5B}"/>
              </a:ext>
            </a:extLst>
          </p:cNvPr>
          <p:cNvPicPr>
            <a:picLocks noChangeAspect="1"/>
          </p:cNvPicPr>
          <p:nvPr/>
        </p:nvPicPr>
        <p:blipFill>
          <a:blip r:embed="rId4"/>
          <a:stretch>
            <a:fillRect/>
          </a:stretch>
        </p:blipFill>
        <p:spPr>
          <a:xfrm>
            <a:off x="6569907" y="2549852"/>
            <a:ext cx="1345265" cy="1345265"/>
          </a:xfrm>
          <a:prstGeom prst="rect">
            <a:avLst/>
          </a:prstGeom>
        </p:spPr>
      </p:pic>
      <p:pic>
        <p:nvPicPr>
          <p:cNvPr id="202" name="Picture 201">
            <a:extLst>
              <a:ext uri="{FF2B5EF4-FFF2-40B4-BE49-F238E27FC236}">
                <a16:creationId xmlns:a16="http://schemas.microsoft.com/office/drawing/2014/main" id="{C6F77D56-C61D-4C5C-9EA8-8E56C5BE8224}"/>
              </a:ext>
            </a:extLst>
          </p:cNvPr>
          <p:cNvPicPr>
            <a:picLocks noChangeAspect="1"/>
          </p:cNvPicPr>
          <p:nvPr/>
        </p:nvPicPr>
        <p:blipFill rotWithShape="1">
          <a:blip r:embed="rId5">
            <a:alphaModFix/>
            <a:extLst>
              <a:ext uri="{28A0092B-C50C-407E-A947-70E740481C1C}">
                <a14:useLocalDpi xmlns:a14="http://schemas.microsoft.com/office/drawing/2010/main" val="0"/>
              </a:ext>
            </a:extLst>
          </a:blip>
          <a:srcRect l="5057" t="13229" r="30638" b="38682"/>
          <a:stretch/>
        </p:blipFill>
        <p:spPr>
          <a:xfrm>
            <a:off x="4835094" y="1132910"/>
            <a:ext cx="3913625" cy="1311494"/>
          </a:xfrm>
          <a:custGeom>
            <a:avLst/>
            <a:gdLst>
              <a:gd name="connsiteX0" fmla="*/ 0 w 4437002"/>
              <a:gd name="connsiteY0" fmla="*/ 0 h 1748659"/>
              <a:gd name="connsiteX1" fmla="*/ 4437002 w 4437002"/>
              <a:gd name="connsiteY1" fmla="*/ 0 h 1748659"/>
              <a:gd name="connsiteX2" fmla="*/ 4437002 w 4437002"/>
              <a:gd name="connsiteY2" fmla="*/ 1748659 h 1748659"/>
              <a:gd name="connsiteX3" fmla="*/ 0 w 4437002"/>
              <a:gd name="connsiteY3" fmla="*/ 1748659 h 1748659"/>
            </a:gdLst>
            <a:ahLst/>
            <a:cxnLst>
              <a:cxn ang="0">
                <a:pos x="connsiteX0" y="connsiteY0"/>
              </a:cxn>
              <a:cxn ang="0">
                <a:pos x="connsiteX1" y="connsiteY1"/>
              </a:cxn>
              <a:cxn ang="0">
                <a:pos x="connsiteX2" y="connsiteY2"/>
              </a:cxn>
              <a:cxn ang="0">
                <a:pos x="connsiteX3" y="connsiteY3"/>
              </a:cxn>
            </a:cxnLst>
            <a:rect l="l" t="t" r="r" b="b"/>
            <a:pathLst>
              <a:path w="4437002" h="1748659">
                <a:moveTo>
                  <a:pt x="0" y="0"/>
                </a:moveTo>
                <a:lnTo>
                  <a:pt x="4437002" y="0"/>
                </a:lnTo>
                <a:lnTo>
                  <a:pt x="4437002" y="1748659"/>
                </a:lnTo>
                <a:lnTo>
                  <a:pt x="0" y="1748659"/>
                </a:lnTo>
                <a:close/>
              </a:path>
            </a:pathLst>
          </a:custGeom>
        </p:spPr>
      </p:pic>
      <p:pic>
        <p:nvPicPr>
          <p:cNvPr id="14" name="Picture 13" descr="Icon&#10;&#10;Description automatically generated">
            <a:extLst>
              <a:ext uri="{FF2B5EF4-FFF2-40B4-BE49-F238E27FC236}">
                <a16:creationId xmlns:a16="http://schemas.microsoft.com/office/drawing/2014/main" id="{23F326F9-F3B0-41D6-8229-CD28787D96A9}"/>
              </a:ext>
            </a:extLst>
          </p:cNvPr>
          <p:cNvPicPr>
            <a:picLocks noChangeAspect="1"/>
          </p:cNvPicPr>
          <p:nvPr/>
        </p:nvPicPr>
        <p:blipFill>
          <a:blip r:embed="rId6"/>
          <a:stretch>
            <a:fillRect/>
          </a:stretch>
        </p:blipFill>
        <p:spPr>
          <a:xfrm>
            <a:off x="4333090" y="2413215"/>
            <a:ext cx="1194680" cy="1194680"/>
          </a:xfrm>
          <a:prstGeom prst="rect">
            <a:avLst/>
          </a:prstGeom>
        </p:spPr>
      </p:pic>
      <p:pic>
        <p:nvPicPr>
          <p:cNvPr id="203" name="Picture 202">
            <a:extLst>
              <a:ext uri="{FF2B5EF4-FFF2-40B4-BE49-F238E27FC236}">
                <a16:creationId xmlns:a16="http://schemas.microsoft.com/office/drawing/2014/main" id="{A17FFDA8-1F32-4B04-B1CC-99AAAD092BD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267" t="40479" r="20304" b="13488"/>
          <a:stretch/>
        </p:blipFill>
        <p:spPr>
          <a:xfrm flipH="1">
            <a:off x="5380642" y="3921633"/>
            <a:ext cx="3355354" cy="1311494"/>
          </a:xfrm>
          <a:custGeom>
            <a:avLst/>
            <a:gdLst>
              <a:gd name="connsiteX0" fmla="*/ 4437002 w 4437002"/>
              <a:gd name="connsiteY0" fmla="*/ 0 h 1748659"/>
              <a:gd name="connsiteX1" fmla="*/ 0 w 4437002"/>
              <a:gd name="connsiteY1" fmla="*/ 0 h 1748659"/>
              <a:gd name="connsiteX2" fmla="*/ 0 w 4437002"/>
              <a:gd name="connsiteY2" fmla="*/ 1748659 h 1748659"/>
              <a:gd name="connsiteX3" fmla="*/ 4437002 w 4437002"/>
              <a:gd name="connsiteY3" fmla="*/ 1748659 h 1748659"/>
            </a:gdLst>
            <a:ahLst/>
            <a:cxnLst>
              <a:cxn ang="0">
                <a:pos x="connsiteX0" y="connsiteY0"/>
              </a:cxn>
              <a:cxn ang="0">
                <a:pos x="connsiteX1" y="connsiteY1"/>
              </a:cxn>
              <a:cxn ang="0">
                <a:pos x="connsiteX2" y="connsiteY2"/>
              </a:cxn>
              <a:cxn ang="0">
                <a:pos x="connsiteX3" y="connsiteY3"/>
              </a:cxn>
            </a:cxnLst>
            <a:rect l="l" t="t" r="r" b="b"/>
            <a:pathLst>
              <a:path w="4437002" h="1748659">
                <a:moveTo>
                  <a:pt x="4437002" y="0"/>
                </a:moveTo>
                <a:lnTo>
                  <a:pt x="0" y="0"/>
                </a:lnTo>
                <a:lnTo>
                  <a:pt x="0" y="1748659"/>
                </a:lnTo>
                <a:lnTo>
                  <a:pt x="4437002" y="1748659"/>
                </a:lnTo>
                <a:close/>
              </a:path>
            </a:pathLst>
          </a:custGeom>
        </p:spPr>
      </p:pic>
      <p:sp>
        <p:nvSpPr>
          <p:cNvPr id="6" name="Rectangle 5">
            <a:extLst>
              <a:ext uri="{FF2B5EF4-FFF2-40B4-BE49-F238E27FC236}">
                <a16:creationId xmlns:a16="http://schemas.microsoft.com/office/drawing/2014/main" id="{74DB2684-5A39-4823-976A-14C4961B0A09}"/>
              </a:ext>
            </a:extLst>
          </p:cNvPr>
          <p:cNvSpPr/>
          <p:nvPr/>
        </p:nvSpPr>
        <p:spPr>
          <a:xfrm>
            <a:off x="3334076" y="1141369"/>
            <a:ext cx="5401920" cy="1311494"/>
          </a:xfrm>
          <a:prstGeom prst="rect">
            <a:avLst/>
          </a:prstGeom>
          <a:solidFill>
            <a:srgbClr val="C3B69B">
              <a:alpha val="74118"/>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sp>
        <p:nvSpPr>
          <p:cNvPr id="15" name="TextBox 14">
            <a:extLst>
              <a:ext uri="{FF2B5EF4-FFF2-40B4-BE49-F238E27FC236}">
                <a16:creationId xmlns:a16="http://schemas.microsoft.com/office/drawing/2014/main" id="{20A7EECF-04C7-4CAA-9DD0-37D39C745ADA}"/>
              </a:ext>
            </a:extLst>
          </p:cNvPr>
          <p:cNvSpPr txBox="1"/>
          <p:nvPr/>
        </p:nvSpPr>
        <p:spPr>
          <a:xfrm>
            <a:off x="3116997" y="1242665"/>
            <a:ext cx="1870387" cy="306364"/>
          </a:xfrm>
          <a:prstGeom prst="rect">
            <a:avLst/>
          </a:prstGeom>
          <a:noFill/>
          <a:ln w="6350">
            <a:noFill/>
            <a:prstDash val="dash"/>
          </a:ln>
        </p:spPr>
        <p:txBody>
          <a:bodyPr wrap="square" lIns="0" tIns="0" rIns="0" bIns="0" rtlCol="0">
            <a:noAutofit/>
          </a:bodyPr>
          <a:lstStyle/>
          <a:p>
            <a:pPr algn="ctr"/>
            <a:r>
              <a:rPr lang="en-US" b="1" dirty="0">
                <a:solidFill>
                  <a:prstClr val="white"/>
                </a:solidFill>
                <a:latin typeface="Corbel" panose="020B0503020204020204" pitchFamily="34" charset="0"/>
              </a:rPr>
              <a:t>Attribution </a:t>
            </a:r>
            <a:endParaRPr lang="en-US" sz="1050" b="1" dirty="0">
              <a:solidFill>
                <a:prstClr val="white"/>
              </a:solidFill>
              <a:latin typeface="Calibri" panose="020F0502020204030204"/>
            </a:endParaRPr>
          </a:p>
        </p:txBody>
      </p:sp>
      <p:cxnSp>
        <p:nvCxnSpPr>
          <p:cNvPr id="70" name="Straight Connector 69">
            <a:extLst>
              <a:ext uri="{FF2B5EF4-FFF2-40B4-BE49-F238E27FC236}">
                <a16:creationId xmlns:a16="http://schemas.microsoft.com/office/drawing/2014/main" id="{E344662B-BA39-4B2A-8D7A-9E91A9A5F2AC}"/>
              </a:ext>
            </a:extLst>
          </p:cNvPr>
          <p:cNvCxnSpPr>
            <a:cxnSpLocks/>
          </p:cNvCxnSpPr>
          <p:nvPr/>
        </p:nvCxnSpPr>
        <p:spPr>
          <a:xfrm>
            <a:off x="4829589" y="1141370"/>
            <a:ext cx="5505" cy="12950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68219EB-CF07-49EF-BE12-3D50211BC9A8}"/>
              </a:ext>
            </a:extLst>
          </p:cNvPr>
          <p:cNvSpPr txBox="1"/>
          <p:nvPr/>
        </p:nvSpPr>
        <p:spPr>
          <a:xfrm flipH="1">
            <a:off x="5970305" y="2073470"/>
            <a:ext cx="2820596" cy="369332"/>
          </a:xfrm>
          <a:prstGeom prst="rect">
            <a:avLst/>
          </a:prstGeom>
          <a:noFill/>
        </p:spPr>
        <p:txBody>
          <a:bodyPr wrap="square" rtlCol="0">
            <a:spAutoFit/>
          </a:bodyPr>
          <a:lstStyle/>
          <a:p>
            <a:r>
              <a:rPr lang="en-ZA" b="1" dirty="0">
                <a:solidFill>
                  <a:prstClr val="white"/>
                </a:solidFill>
                <a:latin typeface="Calibri" panose="020F0502020204030204"/>
              </a:rPr>
              <a:t>Research Impact Evidence </a:t>
            </a:r>
          </a:p>
        </p:txBody>
      </p:sp>
      <p:cxnSp>
        <p:nvCxnSpPr>
          <p:cNvPr id="38" name="Straight Connector 37">
            <a:extLst>
              <a:ext uri="{FF2B5EF4-FFF2-40B4-BE49-F238E27FC236}">
                <a16:creationId xmlns:a16="http://schemas.microsoft.com/office/drawing/2014/main" id="{07DB1BE3-09E7-4997-9C41-6ECBCA9DF54D}"/>
              </a:ext>
            </a:extLst>
          </p:cNvPr>
          <p:cNvCxnSpPr>
            <a:cxnSpLocks/>
          </p:cNvCxnSpPr>
          <p:nvPr/>
        </p:nvCxnSpPr>
        <p:spPr>
          <a:xfrm>
            <a:off x="6628556" y="2523540"/>
            <a:ext cx="0" cy="131149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7" name="Picture 36" descr="Icon&#10;&#10;Description automatically generated">
            <a:extLst>
              <a:ext uri="{FF2B5EF4-FFF2-40B4-BE49-F238E27FC236}">
                <a16:creationId xmlns:a16="http://schemas.microsoft.com/office/drawing/2014/main" id="{10D2C45A-0C2B-47D5-B2AB-9F38E8C832C2}"/>
              </a:ext>
            </a:extLst>
          </p:cNvPr>
          <p:cNvPicPr>
            <a:picLocks noChangeAspect="1"/>
          </p:cNvPicPr>
          <p:nvPr/>
        </p:nvPicPr>
        <p:blipFill>
          <a:blip r:embed="rId8"/>
          <a:stretch>
            <a:fillRect/>
          </a:stretch>
        </p:blipFill>
        <p:spPr>
          <a:xfrm>
            <a:off x="7469431" y="1006815"/>
            <a:ext cx="1342711" cy="1342711"/>
          </a:xfrm>
          <a:prstGeom prst="rect">
            <a:avLst/>
          </a:prstGeom>
        </p:spPr>
      </p:pic>
      <p:sp>
        <p:nvSpPr>
          <p:cNvPr id="10" name="Rectangle 9">
            <a:extLst>
              <a:ext uri="{FF2B5EF4-FFF2-40B4-BE49-F238E27FC236}">
                <a16:creationId xmlns:a16="http://schemas.microsoft.com/office/drawing/2014/main" id="{1BB072CC-F2F3-4A21-981D-A95C0B33E1E4}"/>
              </a:ext>
            </a:extLst>
          </p:cNvPr>
          <p:cNvSpPr/>
          <p:nvPr/>
        </p:nvSpPr>
        <p:spPr>
          <a:xfrm>
            <a:off x="3328400" y="3921646"/>
            <a:ext cx="5420318" cy="1311494"/>
          </a:xfrm>
          <a:prstGeom prst="rect">
            <a:avLst/>
          </a:prstGeom>
          <a:solidFill>
            <a:srgbClr val="919A97">
              <a:alpha val="74118"/>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latin typeface="Calibri" panose="020F0502020204030204"/>
            </a:endParaRPr>
          </a:p>
        </p:txBody>
      </p:sp>
      <p:cxnSp>
        <p:nvCxnSpPr>
          <p:cNvPr id="66" name="Straight Connector 65">
            <a:extLst>
              <a:ext uri="{FF2B5EF4-FFF2-40B4-BE49-F238E27FC236}">
                <a16:creationId xmlns:a16="http://schemas.microsoft.com/office/drawing/2014/main" id="{FD5C8CFC-1E53-4F0A-A291-B2E94533CBBD}"/>
              </a:ext>
            </a:extLst>
          </p:cNvPr>
          <p:cNvCxnSpPr>
            <a:cxnSpLocks/>
          </p:cNvCxnSpPr>
          <p:nvPr/>
        </p:nvCxnSpPr>
        <p:spPr>
          <a:xfrm>
            <a:off x="5380643" y="3921633"/>
            <a:ext cx="0" cy="13143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1BDF03EE-704B-4ED5-AA0E-79A395110EB6}"/>
              </a:ext>
            </a:extLst>
          </p:cNvPr>
          <p:cNvSpPr txBox="1"/>
          <p:nvPr/>
        </p:nvSpPr>
        <p:spPr>
          <a:xfrm>
            <a:off x="3347103" y="4862371"/>
            <a:ext cx="2623202" cy="369332"/>
          </a:xfrm>
          <a:prstGeom prst="rect">
            <a:avLst/>
          </a:prstGeom>
          <a:noFill/>
        </p:spPr>
        <p:txBody>
          <a:bodyPr wrap="square" rtlCol="0">
            <a:spAutoFit/>
          </a:bodyPr>
          <a:lstStyle/>
          <a:p>
            <a:r>
              <a:rPr lang="en-ZA" b="1" dirty="0">
                <a:solidFill>
                  <a:prstClr val="white"/>
                </a:solidFill>
                <a:latin typeface="Calibri" panose="020F0502020204030204"/>
              </a:rPr>
              <a:t>Knowledge Overlap </a:t>
            </a:r>
          </a:p>
        </p:txBody>
      </p:sp>
      <p:pic>
        <p:nvPicPr>
          <p:cNvPr id="12" name="Picture 11" descr="Icon&#10;&#10;Description automatically generated">
            <a:extLst>
              <a:ext uri="{FF2B5EF4-FFF2-40B4-BE49-F238E27FC236}">
                <a16:creationId xmlns:a16="http://schemas.microsoft.com/office/drawing/2014/main" id="{216100C9-31B7-4875-872B-34EDF6ED56CB}"/>
              </a:ext>
            </a:extLst>
          </p:cNvPr>
          <p:cNvPicPr>
            <a:picLocks noChangeAspect="1"/>
          </p:cNvPicPr>
          <p:nvPr/>
        </p:nvPicPr>
        <p:blipFill>
          <a:blip r:embed="rId9"/>
          <a:stretch>
            <a:fillRect/>
          </a:stretch>
        </p:blipFill>
        <p:spPr>
          <a:xfrm>
            <a:off x="3737213" y="3856866"/>
            <a:ext cx="1076050" cy="1076050"/>
          </a:xfrm>
          <a:prstGeom prst="rect">
            <a:avLst/>
          </a:prstGeom>
        </p:spPr>
      </p:pic>
      <p:pic>
        <p:nvPicPr>
          <p:cNvPr id="30" name="Picture 29" descr="Icon&#10;&#10;Description automatically generated">
            <a:extLst>
              <a:ext uri="{FF2B5EF4-FFF2-40B4-BE49-F238E27FC236}">
                <a16:creationId xmlns:a16="http://schemas.microsoft.com/office/drawing/2014/main" id="{11A2692C-318D-4C71-964A-4C274BCDB7F0}"/>
              </a:ext>
            </a:extLst>
          </p:cNvPr>
          <p:cNvPicPr>
            <a:picLocks noChangeAspect="1"/>
          </p:cNvPicPr>
          <p:nvPr/>
        </p:nvPicPr>
        <p:blipFill>
          <a:blip r:embed="rId10"/>
          <a:stretch>
            <a:fillRect/>
          </a:stretch>
        </p:blipFill>
        <p:spPr>
          <a:xfrm>
            <a:off x="3586167" y="1473380"/>
            <a:ext cx="966570" cy="966570"/>
          </a:xfrm>
          <a:prstGeom prst="rect">
            <a:avLst/>
          </a:prstGeom>
        </p:spPr>
      </p:pic>
    </p:spTree>
    <p:extLst>
      <p:ext uri="{BB962C8B-B14F-4D97-AF65-F5344CB8AC3E}">
        <p14:creationId xmlns:p14="http://schemas.microsoft.com/office/powerpoint/2010/main" val="29191259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3690" y="256854"/>
            <a:ext cx="8954311" cy="1212350"/>
          </a:xfrm>
        </p:spPr>
        <p:txBody>
          <a:bodyPr>
            <a:normAutofit/>
          </a:bodyPr>
          <a:lstStyle/>
          <a:p>
            <a:r>
              <a:rPr lang="en-US" sz="4800" b="1" dirty="0">
                <a:solidFill>
                  <a:schemeClr val="bg1"/>
                </a:solidFill>
                <a:latin typeface="+mn-lt"/>
              </a:rPr>
              <a:t>Impact assessment </a:t>
            </a:r>
            <a:endParaRPr lang="en-ZA" sz="4800" b="1" dirty="0">
              <a:solidFill>
                <a:schemeClr val="bg1"/>
              </a:solidFill>
              <a:latin typeface="+mn-lt"/>
            </a:endParaRPr>
          </a:p>
        </p:txBody>
      </p:sp>
      <p:sp>
        <p:nvSpPr>
          <p:cNvPr id="3" name="Content Placeholder 2"/>
          <p:cNvSpPr>
            <a:spLocks noGrp="1"/>
          </p:cNvSpPr>
          <p:nvPr>
            <p:ph idx="1"/>
          </p:nvPr>
        </p:nvSpPr>
        <p:spPr>
          <a:xfrm>
            <a:off x="2152650" y="1592495"/>
            <a:ext cx="8279044" cy="4119937"/>
          </a:xfrm>
        </p:spPr>
        <p:txBody>
          <a:bodyPr>
            <a:noAutofit/>
          </a:bodyPr>
          <a:lstStyle/>
          <a:p>
            <a:r>
              <a:rPr lang="en-US" sz="3600" dirty="0">
                <a:solidFill>
                  <a:schemeClr val="bg1"/>
                </a:solidFill>
              </a:rPr>
              <a:t>Impact is the effect of research-informed products, policies, and services have on end users </a:t>
            </a:r>
          </a:p>
          <a:p>
            <a:r>
              <a:rPr lang="en-US" sz="3600" dirty="0">
                <a:solidFill>
                  <a:schemeClr val="bg1"/>
                </a:solidFill>
              </a:rPr>
              <a:t>Measured in metrics of utilization but also by changes in lives of citizens, health of environment </a:t>
            </a:r>
            <a:endParaRPr lang="en-ZA" sz="3600" dirty="0">
              <a:solidFill>
                <a:schemeClr val="bg1"/>
              </a:solidFill>
            </a:endParaRPr>
          </a:p>
        </p:txBody>
      </p:sp>
    </p:spTree>
    <p:extLst>
      <p:ext uri="{BB962C8B-B14F-4D97-AF65-F5344CB8AC3E}">
        <p14:creationId xmlns:p14="http://schemas.microsoft.com/office/powerpoint/2010/main" val="19671207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1" y="92468"/>
            <a:ext cx="8969338" cy="1598222"/>
          </a:xfrm>
        </p:spPr>
        <p:txBody>
          <a:bodyPr>
            <a:normAutofit/>
          </a:bodyPr>
          <a:lstStyle/>
          <a:p>
            <a:r>
              <a:rPr lang="en-US" b="1" dirty="0">
                <a:solidFill>
                  <a:schemeClr val="bg1"/>
                </a:solidFill>
                <a:latin typeface="+mn-lt"/>
              </a:rPr>
              <a:t>“Measuring” impact</a:t>
            </a:r>
          </a:p>
        </p:txBody>
      </p:sp>
      <p:sp>
        <p:nvSpPr>
          <p:cNvPr id="3" name="Content Placeholder 2"/>
          <p:cNvSpPr>
            <a:spLocks noGrp="1"/>
          </p:cNvSpPr>
          <p:nvPr>
            <p:ph sz="half" idx="1"/>
          </p:nvPr>
        </p:nvSpPr>
        <p:spPr>
          <a:xfrm>
            <a:off x="2006885" y="1436370"/>
            <a:ext cx="8486454" cy="4255513"/>
          </a:xfrm>
        </p:spPr>
        <p:txBody>
          <a:bodyPr>
            <a:noAutofit/>
          </a:bodyPr>
          <a:lstStyle/>
          <a:p>
            <a:r>
              <a:rPr lang="en-US" sz="2400" dirty="0">
                <a:solidFill>
                  <a:schemeClr val="bg1"/>
                </a:solidFill>
              </a:rPr>
              <a:t>Typically, create a critical distance between “research” and its “impact” </a:t>
            </a:r>
          </a:p>
          <a:p>
            <a:pPr lvl="1"/>
            <a:r>
              <a:rPr lang="en-US" dirty="0">
                <a:solidFill>
                  <a:schemeClr val="bg1"/>
                </a:solidFill>
              </a:rPr>
              <a:t>suggesting the societal value of research is extraneous to the research itself</a:t>
            </a:r>
          </a:p>
          <a:p>
            <a:r>
              <a:rPr lang="en-US" sz="2400" dirty="0">
                <a:solidFill>
                  <a:schemeClr val="bg1"/>
                </a:solidFill>
              </a:rPr>
              <a:t>Impact </a:t>
            </a:r>
            <a:r>
              <a:rPr lang="en-US" sz="2400" b="1" dirty="0">
                <a:solidFill>
                  <a:schemeClr val="bg1"/>
                </a:solidFill>
              </a:rPr>
              <a:t>on</a:t>
            </a:r>
            <a:r>
              <a:rPr lang="en-US" sz="2400" dirty="0">
                <a:solidFill>
                  <a:schemeClr val="bg1"/>
                </a:solidFill>
              </a:rPr>
              <a:t> society: top down, undemocratic, reinforces this critical distance between “science” and “society”</a:t>
            </a:r>
          </a:p>
          <a:p>
            <a:r>
              <a:rPr lang="en-US" sz="2400" dirty="0">
                <a:solidFill>
                  <a:schemeClr val="bg1"/>
                </a:solidFill>
              </a:rPr>
              <a:t>Attribute a changed social reality to a particular knowledge product (very hard!)</a:t>
            </a:r>
          </a:p>
          <a:p>
            <a:r>
              <a:rPr lang="en-US" sz="2400" dirty="0">
                <a:solidFill>
                  <a:schemeClr val="bg1"/>
                </a:solidFill>
              </a:rPr>
              <a:t>A uniformed approach across the disciplines fails to capture the nuances of the relationship between society and different forms of knowledge </a:t>
            </a:r>
          </a:p>
        </p:txBody>
      </p:sp>
    </p:spTree>
    <p:extLst>
      <p:ext uri="{BB962C8B-B14F-4D97-AF65-F5344CB8AC3E}">
        <p14:creationId xmlns:p14="http://schemas.microsoft.com/office/powerpoint/2010/main" val="37961132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1" y="365127"/>
            <a:ext cx="2121769" cy="4782227"/>
          </a:xfrm>
        </p:spPr>
        <p:txBody>
          <a:bodyPr>
            <a:normAutofit/>
          </a:bodyPr>
          <a:lstStyle/>
          <a:p>
            <a:r>
              <a:rPr lang="en-US" sz="4500" dirty="0">
                <a:solidFill>
                  <a:schemeClr val="bg1"/>
                </a:solidFill>
                <a:latin typeface="+mn-lt"/>
              </a:rPr>
              <a:t>How Impact is Not a Science</a:t>
            </a:r>
          </a:p>
        </p:txBody>
      </p:sp>
      <p:sp>
        <p:nvSpPr>
          <p:cNvPr id="3" name="Content Placeholder 2"/>
          <p:cNvSpPr>
            <a:spLocks noGrp="1"/>
          </p:cNvSpPr>
          <p:nvPr>
            <p:ph idx="1"/>
          </p:nvPr>
        </p:nvSpPr>
        <p:spPr>
          <a:xfrm>
            <a:off x="4082266" y="267129"/>
            <a:ext cx="6313821" cy="5291191"/>
          </a:xfrm>
        </p:spPr>
        <p:txBody>
          <a:bodyPr>
            <a:normAutofit/>
          </a:bodyPr>
          <a:lstStyle/>
          <a:p>
            <a:r>
              <a:rPr lang="en-US" sz="2000" dirty="0">
                <a:solidFill>
                  <a:schemeClr val="bg1"/>
                </a:solidFill>
              </a:rPr>
              <a:t>Impact may not lead to trackable material changes, but changes in ideas, thinking and </a:t>
            </a:r>
            <a:r>
              <a:rPr lang="en-US" sz="2000" dirty="0" err="1">
                <a:solidFill>
                  <a:schemeClr val="bg1"/>
                </a:solidFill>
              </a:rPr>
              <a:t>behaviours</a:t>
            </a:r>
            <a:r>
              <a:rPr lang="en-US" sz="2000" dirty="0">
                <a:solidFill>
                  <a:schemeClr val="bg1"/>
                </a:solidFill>
              </a:rPr>
              <a:t>    </a:t>
            </a:r>
          </a:p>
          <a:p>
            <a:r>
              <a:rPr lang="en-US" sz="2000" dirty="0">
                <a:solidFill>
                  <a:schemeClr val="bg1"/>
                </a:solidFill>
              </a:rPr>
              <a:t>Different forms of knowledge have different impacts; impact can be more complex and dynamic</a:t>
            </a:r>
          </a:p>
          <a:p>
            <a:r>
              <a:rPr lang="en-US" sz="2000" dirty="0">
                <a:solidFill>
                  <a:schemeClr val="bg1"/>
                </a:solidFill>
              </a:rPr>
              <a:t>The contribution/attribution dilemma</a:t>
            </a:r>
          </a:p>
          <a:p>
            <a:pPr lvl="1"/>
            <a:r>
              <a:rPr lang="en-US" sz="2000" dirty="0">
                <a:solidFill>
                  <a:schemeClr val="bg1"/>
                </a:solidFill>
              </a:rPr>
              <a:t>How can we </a:t>
            </a:r>
            <a:r>
              <a:rPr lang="en-US" sz="2000" b="1" dirty="0">
                <a:solidFill>
                  <a:schemeClr val="bg1"/>
                </a:solidFill>
              </a:rPr>
              <a:t>know</a:t>
            </a:r>
            <a:r>
              <a:rPr lang="en-US" sz="2000" dirty="0">
                <a:solidFill>
                  <a:schemeClr val="bg1"/>
                </a:solidFill>
              </a:rPr>
              <a:t> that one particular piece/body of research produced a particular result (e.g. change in social attitude)? </a:t>
            </a:r>
          </a:p>
          <a:p>
            <a:pPr lvl="1"/>
            <a:r>
              <a:rPr lang="en-US" sz="2000" dirty="0">
                <a:solidFill>
                  <a:schemeClr val="bg1"/>
                </a:solidFill>
              </a:rPr>
              <a:t>The hard truth of causation – of </a:t>
            </a:r>
            <a:r>
              <a:rPr lang="en-US" sz="2000" b="1" i="1" dirty="0">
                <a:solidFill>
                  <a:schemeClr val="bg1"/>
                </a:solidFill>
              </a:rPr>
              <a:t>this</a:t>
            </a:r>
            <a:r>
              <a:rPr lang="en-US" sz="2000" dirty="0">
                <a:solidFill>
                  <a:schemeClr val="bg1"/>
                </a:solidFill>
              </a:rPr>
              <a:t> research definitively causing </a:t>
            </a:r>
            <a:r>
              <a:rPr lang="en-US" sz="2000" b="1" i="1" dirty="0">
                <a:solidFill>
                  <a:schemeClr val="bg1"/>
                </a:solidFill>
              </a:rPr>
              <a:t>that</a:t>
            </a:r>
            <a:r>
              <a:rPr lang="en-US" sz="2000" dirty="0">
                <a:solidFill>
                  <a:schemeClr val="bg1"/>
                </a:solidFill>
              </a:rPr>
              <a:t> impact </a:t>
            </a:r>
          </a:p>
          <a:p>
            <a:r>
              <a:rPr lang="en-US" sz="2000" dirty="0">
                <a:solidFill>
                  <a:schemeClr val="bg1"/>
                </a:solidFill>
              </a:rPr>
              <a:t>REF (UK and elsewhere)</a:t>
            </a:r>
          </a:p>
          <a:p>
            <a:pPr lvl="1"/>
            <a:r>
              <a:rPr lang="en-US" sz="2000" dirty="0">
                <a:solidFill>
                  <a:schemeClr val="bg1"/>
                </a:solidFill>
              </a:rPr>
              <a:t>“How has your work and scholarship had impact?”</a:t>
            </a:r>
          </a:p>
          <a:p>
            <a:pPr lvl="1"/>
            <a:r>
              <a:rPr lang="en-US" sz="2000" dirty="0">
                <a:solidFill>
                  <a:schemeClr val="bg1"/>
                </a:solidFill>
              </a:rPr>
              <a:t>Methodology: “describe the impact your work has had?” using case studies. </a:t>
            </a:r>
          </a:p>
          <a:p>
            <a:pPr lvl="2"/>
            <a:r>
              <a:rPr lang="en-US" dirty="0">
                <a:solidFill>
                  <a:schemeClr val="bg1"/>
                </a:solidFill>
              </a:rPr>
              <a:t>How do you tell the story of your work?</a:t>
            </a:r>
          </a:p>
          <a:p>
            <a:pPr lvl="1"/>
            <a:endParaRPr lang="en-US" dirty="0"/>
          </a:p>
        </p:txBody>
      </p:sp>
    </p:spTree>
    <p:extLst>
      <p:ext uri="{BB962C8B-B14F-4D97-AF65-F5344CB8AC3E}">
        <p14:creationId xmlns:p14="http://schemas.microsoft.com/office/powerpoint/2010/main" val="38204054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r>
              <a:rPr lang="nl-NL" sz="2900" b="1" dirty="0">
                <a:solidFill>
                  <a:srgbClr val="820000"/>
                </a:solidFill>
                <a:latin typeface="Garamond" panose="02020404030301010803" pitchFamily="18" charset="0"/>
              </a:rPr>
              <a:t>Barend van der Meulen </a:t>
            </a:r>
          </a:p>
          <a:p>
            <a:pPr algn="ctr">
              <a:spcAft>
                <a:spcPts val="1800"/>
              </a:spcAft>
            </a:pPr>
            <a:r>
              <a:rPr lang="en-AU" sz="2500" i="1" dirty="0">
                <a:latin typeface="Garamond" panose="02020404030301010803" pitchFamily="18" charset="0"/>
              </a:rPr>
              <a:t>Professor of Institutional Aspects of (Higher) Education, </a:t>
            </a:r>
          </a:p>
          <a:p>
            <a:pPr algn="ctr">
              <a:spcAft>
                <a:spcPts val="1800"/>
              </a:spcAft>
            </a:pPr>
            <a:r>
              <a:rPr lang="en-AU" sz="2500" i="1" dirty="0">
                <a:latin typeface="Garamond" panose="02020404030301010803" pitchFamily="18" charset="0"/>
              </a:rPr>
              <a:t>University of Twente, Netherlands </a:t>
            </a:r>
            <a:br>
              <a:rPr lang="nl-NL" sz="3600" dirty="0">
                <a:latin typeface="Garamond" panose="02020404030301010803" pitchFamily="18" charset="0"/>
              </a:rPr>
            </a:b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12731547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6C781-2FC7-48F8-9075-D272B342EE0C}"/>
              </a:ext>
            </a:extLst>
          </p:cNvPr>
          <p:cNvSpPr>
            <a:spLocks noGrp="1"/>
          </p:cNvSpPr>
          <p:nvPr>
            <p:ph type="title"/>
          </p:nvPr>
        </p:nvSpPr>
        <p:spPr>
          <a:xfrm>
            <a:off x="1524000" y="172087"/>
            <a:ext cx="9144000" cy="734209"/>
          </a:xfrm>
        </p:spPr>
        <p:txBody>
          <a:bodyPr/>
          <a:lstStyle/>
          <a:p>
            <a:pPr algn="ctr"/>
            <a:r>
              <a:rPr lang="en-ZA" dirty="0">
                <a:solidFill>
                  <a:schemeClr val="bg1"/>
                </a:solidFill>
                <a:latin typeface="+mn-lt"/>
              </a:rPr>
              <a:t>Attribution </a:t>
            </a:r>
          </a:p>
        </p:txBody>
      </p:sp>
      <p:sp>
        <p:nvSpPr>
          <p:cNvPr id="5" name="TextBox 4">
            <a:extLst>
              <a:ext uri="{FF2B5EF4-FFF2-40B4-BE49-F238E27FC236}">
                <a16:creationId xmlns:a16="http://schemas.microsoft.com/office/drawing/2014/main" id="{7570E0D1-7C53-48EF-AB43-34F85B0AF818}"/>
              </a:ext>
            </a:extLst>
          </p:cNvPr>
          <p:cNvSpPr txBox="1"/>
          <p:nvPr/>
        </p:nvSpPr>
        <p:spPr>
          <a:xfrm>
            <a:off x="3778322" y="5943356"/>
            <a:ext cx="6616557" cy="382092"/>
          </a:xfrm>
          <a:prstGeom prst="rect">
            <a:avLst/>
          </a:prstGeom>
          <a:noFill/>
        </p:spPr>
        <p:txBody>
          <a:bodyPr wrap="square" rtlCol="0">
            <a:spAutoFit/>
          </a:bodyPr>
          <a:lstStyle/>
          <a:p>
            <a:pPr>
              <a:lnSpc>
                <a:spcPct val="150000"/>
              </a:lnSpc>
            </a:pPr>
            <a:r>
              <a:rPr lang="en-ZA" sz="1400" dirty="0">
                <a:solidFill>
                  <a:prstClr val="black"/>
                </a:solidFill>
                <a:latin typeface="Calibri" panose="020F0502020204030204"/>
                <a:ea typeface="Calibri" panose="020F0502020204030204" pitchFamily="34" charset="0"/>
                <a:cs typeface="Arial" panose="020B0604020202020204" pitchFamily="34" charset="0"/>
              </a:rPr>
              <a:t>Figure 1: Time, attribution, impact: </a:t>
            </a:r>
            <a:r>
              <a:rPr lang="en-GB" sz="1400" i="1" dirty="0">
                <a:solidFill>
                  <a:prstClr val="black"/>
                </a:solidFill>
                <a:latin typeface="Calibri" panose="020F0502020204030204"/>
                <a:ea typeface="Calibri" panose="020F0502020204030204" pitchFamily="34" charset="0"/>
                <a:cs typeface="Times New Roman (Body CS)"/>
              </a:rPr>
              <a:t>Hughes and Martin (2012) </a:t>
            </a:r>
            <a:endParaRPr lang="en-ZA" sz="1400" dirty="0">
              <a:solidFill>
                <a:prstClr val="black"/>
              </a:solidFill>
              <a:latin typeface="Calibri" panose="020F0502020204030204"/>
              <a:ea typeface="Calibri" panose="020F0502020204030204" pitchFamily="34" charset="0"/>
              <a:cs typeface="Times New Roman (Body CS)"/>
            </a:endParaRPr>
          </a:p>
        </p:txBody>
      </p:sp>
      <p:cxnSp>
        <p:nvCxnSpPr>
          <p:cNvPr id="7" name="Straight Connector 6">
            <a:extLst>
              <a:ext uri="{FF2B5EF4-FFF2-40B4-BE49-F238E27FC236}">
                <a16:creationId xmlns:a16="http://schemas.microsoft.com/office/drawing/2014/main" id="{20A830B8-04CF-486C-9009-B32363C26258}"/>
              </a:ext>
            </a:extLst>
          </p:cNvPr>
          <p:cNvCxnSpPr>
            <a:cxnSpLocks/>
          </p:cNvCxnSpPr>
          <p:nvPr/>
        </p:nvCxnSpPr>
        <p:spPr>
          <a:xfrm>
            <a:off x="3611835" y="973920"/>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pic>
        <p:nvPicPr>
          <p:cNvPr id="11" name="Picture 10" descr="Diagram&#10;&#10;Description automatically generated">
            <a:extLst>
              <a:ext uri="{FF2B5EF4-FFF2-40B4-BE49-F238E27FC236}">
                <a16:creationId xmlns:a16="http://schemas.microsoft.com/office/drawing/2014/main" id="{BB5191A6-539A-4E5A-9F17-EFB1978F2E96}"/>
              </a:ext>
            </a:extLst>
          </p:cNvPr>
          <p:cNvPicPr>
            <a:picLocks noChangeAspect="1"/>
          </p:cNvPicPr>
          <p:nvPr/>
        </p:nvPicPr>
        <p:blipFill>
          <a:blip r:embed="rId2"/>
          <a:stretch>
            <a:fillRect/>
          </a:stretch>
        </p:blipFill>
        <p:spPr>
          <a:xfrm>
            <a:off x="1797122" y="914645"/>
            <a:ext cx="8677838" cy="4558809"/>
          </a:xfrm>
          <a:prstGeom prst="rect">
            <a:avLst/>
          </a:prstGeom>
        </p:spPr>
      </p:pic>
      <p:pic>
        <p:nvPicPr>
          <p:cNvPr id="6" name="Picture 5" descr="Icon&#10;&#10;Description automatically generated">
            <a:extLst>
              <a:ext uri="{FF2B5EF4-FFF2-40B4-BE49-F238E27FC236}">
                <a16:creationId xmlns:a16="http://schemas.microsoft.com/office/drawing/2014/main" id="{D3AA627B-F6D1-48B8-B2EB-5C9471C82606}"/>
              </a:ext>
            </a:extLst>
          </p:cNvPr>
          <p:cNvPicPr>
            <a:picLocks noChangeAspect="1"/>
          </p:cNvPicPr>
          <p:nvPr/>
        </p:nvPicPr>
        <p:blipFill>
          <a:blip r:embed="rId3"/>
          <a:stretch>
            <a:fillRect/>
          </a:stretch>
        </p:blipFill>
        <p:spPr>
          <a:xfrm>
            <a:off x="3449149" y="55905"/>
            <a:ext cx="966570" cy="966570"/>
          </a:xfrm>
          <a:prstGeom prst="rect">
            <a:avLst/>
          </a:prstGeom>
        </p:spPr>
      </p:pic>
    </p:spTree>
    <p:extLst>
      <p:ext uri="{BB962C8B-B14F-4D97-AF65-F5344CB8AC3E}">
        <p14:creationId xmlns:p14="http://schemas.microsoft.com/office/powerpoint/2010/main" val="51792622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493A98F-66D7-495F-975F-46B61A718201}"/>
              </a:ext>
            </a:extLst>
          </p:cNvPr>
          <p:cNvSpPr>
            <a:spLocks noGrp="1"/>
          </p:cNvSpPr>
          <p:nvPr>
            <p:ph idx="1"/>
          </p:nvPr>
        </p:nvSpPr>
        <p:spPr>
          <a:xfrm>
            <a:off x="4534329" y="678094"/>
            <a:ext cx="5905075" cy="4880225"/>
          </a:xfrm>
        </p:spPr>
        <p:txBody>
          <a:bodyPr>
            <a:noAutofit/>
          </a:bodyPr>
          <a:lstStyle/>
          <a:p>
            <a:pPr algn="just">
              <a:lnSpc>
                <a:spcPct val="120000"/>
              </a:lnSpc>
            </a:pPr>
            <a:r>
              <a:rPr lang="en-ZA" dirty="0">
                <a:solidFill>
                  <a:schemeClr val="bg1"/>
                </a:solidFill>
              </a:rPr>
              <a:t>Time is a crucial factor in the link between research and impact, and time lag varies greatly in between research and impact. </a:t>
            </a:r>
          </a:p>
          <a:p>
            <a:pPr algn="just">
              <a:lnSpc>
                <a:spcPct val="120000"/>
              </a:lnSpc>
            </a:pPr>
            <a:r>
              <a:rPr lang="en-US" dirty="0">
                <a:solidFill>
                  <a:schemeClr val="bg1"/>
                </a:solidFill>
              </a:rPr>
              <a:t>Impact of humanities research may only arise after a much longer time span </a:t>
            </a:r>
          </a:p>
          <a:p>
            <a:pPr marL="0" indent="0" algn="just">
              <a:lnSpc>
                <a:spcPct val="120000"/>
              </a:lnSpc>
              <a:buNone/>
            </a:pPr>
            <a:endParaRPr lang="en-ZA" sz="2100" dirty="0">
              <a:solidFill>
                <a:schemeClr val="bg1"/>
              </a:solidFill>
            </a:endParaRPr>
          </a:p>
        </p:txBody>
      </p:sp>
      <p:pic>
        <p:nvPicPr>
          <p:cNvPr id="6" name="Picture 5" descr="Icon&#10;&#10;Description automatically generated">
            <a:extLst>
              <a:ext uri="{FF2B5EF4-FFF2-40B4-BE49-F238E27FC236}">
                <a16:creationId xmlns:a16="http://schemas.microsoft.com/office/drawing/2014/main" id="{2DC8EC1A-72E9-47E9-BEFE-F3CD0876F0C9}"/>
              </a:ext>
            </a:extLst>
          </p:cNvPr>
          <p:cNvPicPr>
            <a:picLocks noChangeAspect="1"/>
          </p:cNvPicPr>
          <p:nvPr/>
        </p:nvPicPr>
        <p:blipFill>
          <a:blip r:embed="rId3"/>
          <a:stretch>
            <a:fillRect/>
          </a:stretch>
        </p:blipFill>
        <p:spPr>
          <a:xfrm>
            <a:off x="1132657" y="-305076"/>
            <a:ext cx="3899092" cy="3440158"/>
          </a:xfrm>
          <a:prstGeom prst="rect">
            <a:avLst/>
          </a:prstGeom>
        </p:spPr>
      </p:pic>
    </p:spTree>
    <p:extLst>
      <p:ext uri="{BB962C8B-B14F-4D97-AF65-F5344CB8AC3E}">
        <p14:creationId xmlns:p14="http://schemas.microsoft.com/office/powerpoint/2010/main" val="20583376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73B9B7E-CD38-4636-A9C7-B14B4FE6CA1C}"/>
              </a:ext>
            </a:extLst>
          </p:cNvPr>
          <p:cNvSpPr>
            <a:spLocks noGrp="1"/>
          </p:cNvSpPr>
          <p:nvPr>
            <p:ph idx="1"/>
          </p:nvPr>
        </p:nvSpPr>
        <p:spPr>
          <a:xfrm>
            <a:off x="4267201" y="1"/>
            <a:ext cx="6133672" cy="3852808"/>
          </a:xfrm>
        </p:spPr>
        <p:txBody>
          <a:bodyPr>
            <a:noAutofit/>
          </a:bodyPr>
          <a:lstStyle/>
          <a:p>
            <a:pPr algn="just">
              <a:lnSpc>
                <a:spcPct val="120000"/>
              </a:lnSpc>
            </a:pPr>
            <a:r>
              <a:rPr lang="en-US" sz="2600" dirty="0">
                <a:solidFill>
                  <a:schemeClr val="bg1"/>
                </a:solidFill>
                <a:ea typeface="Calibri" panose="020F0502020204030204" pitchFamily="34" charset="0"/>
                <a:cs typeface="Times New Roman (Body CS)"/>
              </a:rPr>
              <a:t>Link between research and impact is not automatic, requires evidence</a:t>
            </a:r>
          </a:p>
          <a:p>
            <a:pPr algn="just">
              <a:lnSpc>
                <a:spcPct val="120000"/>
              </a:lnSpc>
            </a:pPr>
            <a:r>
              <a:rPr lang="en-US" sz="2600" dirty="0">
                <a:solidFill>
                  <a:schemeClr val="bg1"/>
                </a:solidFill>
                <a:ea typeface="Calibri" panose="020F0502020204030204" pitchFamily="34" charset="0"/>
                <a:cs typeface="Times New Roman (Body CS)"/>
              </a:rPr>
              <a:t>This poses a challenge: </a:t>
            </a:r>
          </a:p>
          <a:p>
            <a:pPr lvl="1" algn="just">
              <a:lnSpc>
                <a:spcPct val="120000"/>
              </a:lnSpc>
            </a:pPr>
            <a:r>
              <a:rPr lang="en-US" sz="2200" dirty="0">
                <a:solidFill>
                  <a:schemeClr val="bg1"/>
                </a:solidFill>
                <a:ea typeface="Calibri" panose="020F0502020204030204" pitchFamily="34" charset="0"/>
                <a:cs typeface="Times New Roman (Body CS)"/>
              </a:rPr>
              <a:t>evidence is lacking  </a:t>
            </a:r>
          </a:p>
          <a:p>
            <a:pPr lvl="1" algn="just">
              <a:lnSpc>
                <a:spcPct val="120000"/>
              </a:lnSpc>
            </a:pPr>
            <a:r>
              <a:rPr lang="en-US" sz="2200" dirty="0">
                <a:solidFill>
                  <a:schemeClr val="bg1"/>
                </a:solidFill>
                <a:ea typeface="Calibri" panose="020F0502020204030204" pitchFamily="34" charset="0"/>
                <a:cs typeface="Times New Roman (Body CS)"/>
              </a:rPr>
              <a:t>evidence, measurements and baselines have not been properly collected and documented (Penfield et al., 2014).</a:t>
            </a:r>
            <a:endParaRPr lang="en-ZA" sz="2200" dirty="0">
              <a:solidFill>
                <a:schemeClr val="bg1"/>
              </a:solidFill>
              <a:ea typeface="Calibri" panose="020F0502020204030204" pitchFamily="34" charset="0"/>
              <a:cs typeface="Times New Roman (Body CS)"/>
            </a:endParaRPr>
          </a:p>
          <a:p>
            <a:endParaRPr lang="en-ZA" sz="2600" dirty="0"/>
          </a:p>
        </p:txBody>
      </p:sp>
      <p:pic>
        <p:nvPicPr>
          <p:cNvPr id="9" name="Picture 8" descr="Icon&#10;&#10;Description automatically generated">
            <a:extLst>
              <a:ext uri="{FF2B5EF4-FFF2-40B4-BE49-F238E27FC236}">
                <a16:creationId xmlns:a16="http://schemas.microsoft.com/office/drawing/2014/main" id="{5E20AA13-BD8B-49BB-AF1A-F51C41BB2BD7}"/>
              </a:ext>
            </a:extLst>
          </p:cNvPr>
          <p:cNvPicPr>
            <a:picLocks noChangeAspect="1"/>
          </p:cNvPicPr>
          <p:nvPr/>
        </p:nvPicPr>
        <p:blipFill>
          <a:blip r:embed="rId2"/>
          <a:stretch>
            <a:fillRect/>
          </a:stretch>
        </p:blipFill>
        <p:spPr>
          <a:xfrm>
            <a:off x="1204358" y="-365306"/>
            <a:ext cx="3624943" cy="3624943"/>
          </a:xfrm>
          <a:prstGeom prst="rect">
            <a:avLst/>
          </a:prstGeom>
        </p:spPr>
      </p:pic>
      <p:sp>
        <p:nvSpPr>
          <p:cNvPr id="2" name="TextBox 1">
            <a:extLst>
              <a:ext uri="{FF2B5EF4-FFF2-40B4-BE49-F238E27FC236}">
                <a16:creationId xmlns:a16="http://schemas.microsoft.com/office/drawing/2014/main" id="{619E4A88-18B8-493B-B1F2-E9A0F849A4D0}"/>
              </a:ext>
            </a:extLst>
          </p:cNvPr>
          <p:cNvSpPr txBox="1"/>
          <p:nvPr/>
        </p:nvSpPr>
        <p:spPr>
          <a:xfrm>
            <a:off x="1717657" y="3429001"/>
            <a:ext cx="3371476" cy="2062552"/>
          </a:xfrm>
          <a:prstGeom prst="rect">
            <a:avLst/>
          </a:prstGeom>
          <a:solidFill>
            <a:schemeClr val="bg2">
              <a:lumMod val="75000"/>
            </a:schemeClr>
          </a:solidFill>
          <a:ln>
            <a:solidFill>
              <a:schemeClr val="bg2"/>
            </a:solidFill>
          </a:ln>
        </p:spPr>
        <p:txBody>
          <a:bodyPr wrap="square" rtlCol="0">
            <a:spAutoFit/>
          </a:bodyPr>
          <a:lstStyle/>
          <a:p>
            <a:pPr>
              <a:lnSpc>
                <a:spcPct val="107000"/>
              </a:lnSpc>
              <a:spcAft>
                <a:spcPts val="800"/>
              </a:spcAft>
            </a:pPr>
            <a:r>
              <a:rPr lang="en-ZA" dirty="0">
                <a:solidFill>
                  <a:prstClr val="white"/>
                </a:solidFill>
                <a:latin typeface="Calibri" panose="020F0502020204030204" pitchFamily="34" charset="0"/>
                <a:ea typeface="Calibri" panose="020F0502020204030204" pitchFamily="34" charset="0"/>
                <a:cs typeface="Times New Roman" panose="02020603050405020304" pitchFamily="18" charset="0"/>
              </a:rPr>
              <a:t>Duncan Watts : </a:t>
            </a:r>
          </a:p>
          <a:p>
            <a:pPr>
              <a:lnSpc>
                <a:spcPct val="107000"/>
              </a:lnSpc>
              <a:spcAft>
                <a:spcPts val="800"/>
              </a:spcAft>
            </a:pPr>
            <a:r>
              <a:rPr lang="en-ZA" dirty="0">
                <a:solidFill>
                  <a:prstClr val="white"/>
                </a:solidFill>
                <a:latin typeface="Calibri" panose="020F0502020204030204" pitchFamily="34" charset="0"/>
                <a:ea typeface="Calibri" panose="020F0502020204030204" pitchFamily="34" charset="0"/>
                <a:cs typeface="Times New Roman" panose="02020603050405020304" pitchFamily="18" charset="0"/>
              </a:rPr>
              <a:t>“Measurement is a tremendous driver of science.”</a:t>
            </a:r>
          </a:p>
          <a:p>
            <a:pPr>
              <a:lnSpc>
                <a:spcPct val="107000"/>
              </a:lnSpc>
              <a:spcAft>
                <a:spcPts val="800"/>
              </a:spcAft>
            </a:pPr>
            <a:r>
              <a:rPr lang="en-ZA" dirty="0">
                <a:solidFill>
                  <a:prstClr val="white"/>
                </a:solidFill>
                <a:latin typeface="Calibri" panose="020F0502020204030204" pitchFamily="34" charset="0"/>
                <a:ea typeface="Calibri" panose="020F0502020204030204" pitchFamily="34" charset="0"/>
                <a:cs typeface="Times New Roman" panose="02020603050405020304" pitchFamily="18" charset="0"/>
              </a:rPr>
              <a:t>When you measure things, your conception of the issues –and therefore the solutions – changes.</a:t>
            </a:r>
          </a:p>
        </p:txBody>
      </p:sp>
    </p:spTree>
    <p:extLst>
      <p:ext uri="{BB962C8B-B14F-4D97-AF65-F5344CB8AC3E}">
        <p14:creationId xmlns:p14="http://schemas.microsoft.com/office/powerpoint/2010/main" val="26909668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243D53F-AF27-4B01-97C8-34ED0BB70448}"/>
              </a:ext>
            </a:extLst>
          </p:cNvPr>
          <p:cNvSpPr>
            <a:spLocks noGrp="1"/>
          </p:cNvSpPr>
          <p:nvPr>
            <p:ph idx="1"/>
          </p:nvPr>
        </p:nvSpPr>
        <p:spPr>
          <a:xfrm>
            <a:off x="4365172" y="74842"/>
            <a:ext cx="6210361" cy="5678687"/>
          </a:xfrm>
        </p:spPr>
        <p:txBody>
          <a:bodyPr>
            <a:noAutofit/>
          </a:bodyPr>
          <a:lstStyle/>
          <a:p>
            <a:pPr algn="just">
              <a:lnSpc>
                <a:spcPct val="110000"/>
              </a:lnSpc>
            </a:pPr>
            <a:r>
              <a:rPr lang="en-ZA" sz="2400" dirty="0">
                <a:solidFill>
                  <a:schemeClr val="bg1"/>
                </a:solidFill>
              </a:rPr>
              <a:t>Impact is dynamic and subject to change over time. </a:t>
            </a:r>
          </a:p>
          <a:p>
            <a:pPr algn="just">
              <a:lnSpc>
                <a:spcPct val="110000"/>
              </a:lnSpc>
            </a:pPr>
            <a:r>
              <a:rPr lang="en-ZA" sz="2400" dirty="0">
                <a:solidFill>
                  <a:schemeClr val="bg1"/>
                </a:solidFill>
              </a:rPr>
              <a:t>Assessments of impact offer a cross-sectional evaluative judgement in a broad and complex temporal life of impact (Penfield et al., 2014). </a:t>
            </a:r>
          </a:p>
          <a:p>
            <a:pPr lvl="1" algn="just">
              <a:lnSpc>
                <a:spcPct val="110000"/>
              </a:lnSpc>
            </a:pPr>
            <a:r>
              <a:rPr lang="en-ZA" sz="2000" dirty="0">
                <a:solidFill>
                  <a:schemeClr val="bg1"/>
                </a:solidFill>
              </a:rPr>
              <a:t> “if impact is short-lived and has come and gone within an assessment period, how will it be viewed and considered? … </a:t>
            </a:r>
          </a:p>
          <a:p>
            <a:pPr algn="just">
              <a:lnSpc>
                <a:spcPct val="110000"/>
              </a:lnSpc>
            </a:pPr>
            <a:r>
              <a:rPr lang="en-ZA" sz="2400" dirty="0">
                <a:solidFill>
                  <a:schemeClr val="bg1"/>
                </a:solidFill>
              </a:rPr>
              <a:t>Objectives and perspective of those assessing impact key to understanding how temporal and dissipated impact will be valued in comparison with longer-term impact” (Penfield et al., 2014, 26). </a:t>
            </a:r>
          </a:p>
        </p:txBody>
      </p:sp>
      <p:pic>
        <p:nvPicPr>
          <p:cNvPr id="9" name="Picture 8" descr="Icon&#10;&#10;Description automatically generated">
            <a:extLst>
              <a:ext uri="{FF2B5EF4-FFF2-40B4-BE49-F238E27FC236}">
                <a16:creationId xmlns:a16="http://schemas.microsoft.com/office/drawing/2014/main" id="{C9469838-CCE4-425B-A4B4-38EF15811F59}"/>
              </a:ext>
            </a:extLst>
          </p:cNvPr>
          <p:cNvPicPr>
            <a:picLocks noChangeAspect="1"/>
          </p:cNvPicPr>
          <p:nvPr/>
        </p:nvPicPr>
        <p:blipFill>
          <a:blip r:embed="rId2"/>
          <a:stretch>
            <a:fillRect/>
          </a:stretch>
        </p:blipFill>
        <p:spPr>
          <a:xfrm>
            <a:off x="983808" y="-513935"/>
            <a:ext cx="3845492" cy="3845492"/>
          </a:xfrm>
          <a:prstGeom prst="rect">
            <a:avLst/>
          </a:prstGeom>
        </p:spPr>
      </p:pic>
    </p:spTree>
    <p:extLst>
      <p:ext uri="{BB962C8B-B14F-4D97-AF65-F5344CB8AC3E}">
        <p14:creationId xmlns:p14="http://schemas.microsoft.com/office/powerpoint/2010/main" val="26728029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BC0915-2876-4ECE-964F-15735866AE19}"/>
              </a:ext>
            </a:extLst>
          </p:cNvPr>
          <p:cNvSpPr>
            <a:spLocks noGrp="1"/>
          </p:cNvSpPr>
          <p:nvPr>
            <p:ph idx="1"/>
          </p:nvPr>
        </p:nvSpPr>
        <p:spPr>
          <a:xfrm>
            <a:off x="4657619" y="386749"/>
            <a:ext cx="5907640" cy="5428424"/>
          </a:xfrm>
        </p:spPr>
        <p:txBody>
          <a:bodyPr>
            <a:noAutofit/>
          </a:bodyPr>
          <a:lstStyle/>
          <a:p>
            <a:pPr>
              <a:lnSpc>
                <a:spcPct val="120000"/>
              </a:lnSpc>
            </a:pPr>
            <a:r>
              <a:rPr lang="en-ZA" sz="1800" dirty="0">
                <a:solidFill>
                  <a:schemeClr val="bg1"/>
                </a:solidFill>
              </a:rPr>
              <a:t>Knowledge produced through research does not exist in a vacuum; new and existing knowledge almost always overlaps. </a:t>
            </a:r>
          </a:p>
          <a:p>
            <a:pPr>
              <a:lnSpc>
                <a:spcPct val="120000"/>
              </a:lnSpc>
            </a:pPr>
            <a:r>
              <a:rPr lang="en-ZA" sz="1800" dirty="0">
                <a:solidFill>
                  <a:schemeClr val="bg1"/>
                </a:solidFill>
              </a:rPr>
              <a:t>Advances and breakthrough knowledge relies on the accepted and existing knowledge fund, knowledge overlaps creeps between the old and new. </a:t>
            </a:r>
          </a:p>
          <a:p>
            <a:pPr>
              <a:lnSpc>
                <a:spcPct val="120000"/>
              </a:lnSpc>
            </a:pPr>
            <a:r>
              <a:rPr lang="en-ZA" sz="1800" dirty="0">
                <a:solidFill>
                  <a:schemeClr val="bg1"/>
                </a:solidFill>
              </a:rPr>
              <a:t>This is a challenge to attribution </a:t>
            </a:r>
          </a:p>
          <a:p>
            <a:pPr lvl="1">
              <a:lnSpc>
                <a:spcPct val="120000"/>
              </a:lnSpc>
            </a:pPr>
            <a:r>
              <a:rPr lang="en-ZA" sz="1800" dirty="0">
                <a:solidFill>
                  <a:schemeClr val="bg1"/>
                </a:solidFill>
              </a:rPr>
              <a:t>Research evidence from SSH often influences policy debates and policy changes without the recognition of the actual contributing research (see Wooding et al., 2007; Davies et al., 2005). </a:t>
            </a:r>
          </a:p>
          <a:p>
            <a:pPr>
              <a:lnSpc>
                <a:spcPct val="120000"/>
              </a:lnSpc>
            </a:pPr>
            <a:r>
              <a:rPr lang="en-ZA" sz="1800" dirty="0">
                <a:solidFill>
                  <a:schemeClr val="bg1"/>
                </a:solidFill>
              </a:rPr>
              <a:t>Sometimes the impact of some research cannot be easily evidenced and it becomes difficult to ensure that such research is valued and supported (Penfield et al., 2014). </a:t>
            </a:r>
          </a:p>
        </p:txBody>
      </p:sp>
      <p:pic>
        <p:nvPicPr>
          <p:cNvPr id="9" name="Picture 8" descr="Icon&#10;&#10;Description automatically generated">
            <a:extLst>
              <a:ext uri="{FF2B5EF4-FFF2-40B4-BE49-F238E27FC236}">
                <a16:creationId xmlns:a16="http://schemas.microsoft.com/office/drawing/2014/main" id="{A3EC3315-0113-4FA5-A682-DE38B1152974}"/>
              </a:ext>
            </a:extLst>
          </p:cNvPr>
          <p:cNvPicPr>
            <a:picLocks noChangeAspect="1"/>
          </p:cNvPicPr>
          <p:nvPr/>
        </p:nvPicPr>
        <p:blipFill>
          <a:blip r:embed="rId2"/>
          <a:stretch>
            <a:fillRect/>
          </a:stretch>
        </p:blipFill>
        <p:spPr>
          <a:xfrm>
            <a:off x="1073503" y="-315793"/>
            <a:ext cx="4066040" cy="4066040"/>
          </a:xfrm>
          <a:prstGeom prst="rect">
            <a:avLst/>
          </a:prstGeom>
        </p:spPr>
      </p:pic>
      <p:sp>
        <p:nvSpPr>
          <p:cNvPr id="5" name="TextBox 4">
            <a:extLst>
              <a:ext uri="{FF2B5EF4-FFF2-40B4-BE49-F238E27FC236}">
                <a16:creationId xmlns:a16="http://schemas.microsoft.com/office/drawing/2014/main" id="{1A09DD79-54F7-4C87-8F50-B8AC424CE31B}"/>
              </a:ext>
            </a:extLst>
          </p:cNvPr>
          <p:cNvSpPr txBox="1"/>
          <p:nvPr/>
        </p:nvSpPr>
        <p:spPr>
          <a:xfrm>
            <a:off x="1708936" y="3750247"/>
            <a:ext cx="2948685" cy="1754326"/>
          </a:xfrm>
          <a:prstGeom prst="rect">
            <a:avLst/>
          </a:prstGeom>
          <a:solidFill>
            <a:schemeClr val="accent3"/>
          </a:solidFill>
        </p:spPr>
        <p:txBody>
          <a:bodyPr wrap="square" rtlCol="0">
            <a:spAutoFit/>
          </a:bodyPr>
          <a:lstStyle/>
          <a:p>
            <a:r>
              <a:rPr lang="en-ZA" dirty="0">
                <a:solidFill>
                  <a:prstClr val="white"/>
                </a:solidFill>
                <a:latin typeface="Calibri" panose="020F0502020204030204"/>
              </a:rPr>
              <a:t>Einstein: </a:t>
            </a:r>
          </a:p>
          <a:p>
            <a:r>
              <a:rPr lang="en-ZA" dirty="0">
                <a:solidFill>
                  <a:prstClr val="white"/>
                </a:solidFill>
                <a:latin typeface="Calibri" panose="020F0502020204030204" pitchFamily="34" charset="0"/>
                <a:ea typeface="Calibri" panose="020F0502020204030204" pitchFamily="34" charset="0"/>
                <a:cs typeface="Times New Roman" panose="02020603050405020304" pitchFamily="18" charset="0"/>
              </a:rPr>
              <a:t>“Not everything that can be counted counts, and not everything that counts can be counted.”</a:t>
            </a:r>
          </a:p>
          <a:p>
            <a:endParaRPr lang="en-ZA" dirty="0">
              <a:solidFill>
                <a:prstClr val="black"/>
              </a:solidFill>
              <a:latin typeface="Calibri" panose="020F0502020204030204"/>
            </a:endParaRPr>
          </a:p>
        </p:txBody>
      </p:sp>
    </p:spTree>
    <p:extLst>
      <p:ext uri="{BB962C8B-B14F-4D97-AF65-F5344CB8AC3E}">
        <p14:creationId xmlns:p14="http://schemas.microsoft.com/office/powerpoint/2010/main" val="3421005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F38B99F-6E47-4620-ADD5-FB885A9B88DF}"/>
              </a:ext>
            </a:extLst>
          </p:cNvPr>
          <p:cNvSpPr txBox="1">
            <a:spLocks/>
          </p:cNvSpPr>
          <p:nvPr/>
        </p:nvSpPr>
        <p:spPr>
          <a:xfrm>
            <a:off x="1524001" y="160685"/>
            <a:ext cx="9143999" cy="677108"/>
          </a:xfrm>
          <a:prstGeom prst="rect">
            <a:avLst/>
          </a:prstGeom>
        </p:spPr>
        <p:txBody>
          <a:bodyPr wrap="square" lIns="0" tIns="0" rIns="0" bIns="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en-ZA" b="1" dirty="0">
                <a:solidFill>
                  <a:prstClr val="white"/>
                </a:solidFill>
                <a:latin typeface="Calibri" panose="020F0502020204030204"/>
                <a:ea typeface="Segoe UI" panose="020B0502040204020203" pitchFamily="34" charset="0"/>
                <a:cs typeface="Arial" panose="020B0604020202020204" pitchFamily="34" charset="0"/>
              </a:rPr>
              <a:t>The HSRC’s Impact Centre</a:t>
            </a:r>
            <a:endParaRPr lang="en-US" b="1" dirty="0">
              <a:solidFill>
                <a:prstClr val="white"/>
              </a:solidFill>
              <a:latin typeface="Calibri" panose="020F0502020204030204"/>
              <a:ea typeface="Segoe UI" panose="020B0502040204020203"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id="{3DCD1BB7-8134-404D-940E-DE6CB4ED10A3}"/>
              </a:ext>
            </a:extLst>
          </p:cNvPr>
          <p:cNvCxnSpPr>
            <a:cxnSpLocks/>
          </p:cNvCxnSpPr>
          <p:nvPr/>
        </p:nvCxnSpPr>
        <p:spPr>
          <a:xfrm>
            <a:off x="3440385" y="927238"/>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15B9CDA7-EB46-4FD8-A4D6-75F5BE6855E9}"/>
              </a:ext>
            </a:extLst>
          </p:cNvPr>
          <p:cNvGrpSpPr/>
          <p:nvPr/>
        </p:nvGrpSpPr>
        <p:grpSpPr>
          <a:xfrm>
            <a:off x="1801403" y="927239"/>
            <a:ext cx="8956918" cy="4959213"/>
            <a:chOff x="2345904" y="1098695"/>
            <a:chExt cx="5972175" cy="4744892"/>
          </a:xfrm>
        </p:grpSpPr>
        <p:pic>
          <p:nvPicPr>
            <p:cNvPr id="14" name="Picture 13">
              <a:extLst>
                <a:ext uri="{FF2B5EF4-FFF2-40B4-BE49-F238E27FC236}">
                  <a16:creationId xmlns:a16="http://schemas.microsoft.com/office/drawing/2014/main" id="{8EAC3D57-B404-444A-99C0-5DFA7F21A37A}"/>
                </a:ext>
              </a:extLst>
            </p:cNvPr>
            <p:cNvPicPr>
              <a:picLocks noChangeAspect="1"/>
            </p:cNvPicPr>
            <p:nvPr/>
          </p:nvPicPr>
          <p:blipFill>
            <a:blip r:embed="rId3"/>
            <a:stretch>
              <a:fillRect/>
            </a:stretch>
          </p:blipFill>
          <p:spPr>
            <a:xfrm>
              <a:off x="2345904" y="1098695"/>
              <a:ext cx="5972175" cy="4744892"/>
            </a:xfrm>
            <a:prstGeom prst="rect">
              <a:avLst/>
            </a:prstGeom>
          </p:spPr>
        </p:pic>
        <p:sp>
          <p:nvSpPr>
            <p:cNvPr id="10" name="TextBox 9">
              <a:extLst>
                <a:ext uri="{FF2B5EF4-FFF2-40B4-BE49-F238E27FC236}">
                  <a16:creationId xmlns:a16="http://schemas.microsoft.com/office/drawing/2014/main" id="{2B6E4912-B0EA-41B5-A441-778CB568E095}"/>
                </a:ext>
              </a:extLst>
            </p:cNvPr>
            <p:cNvSpPr txBox="1"/>
            <p:nvPr/>
          </p:nvSpPr>
          <p:spPr>
            <a:xfrm>
              <a:off x="2493163" y="1674049"/>
              <a:ext cx="1435894" cy="3662046"/>
            </a:xfrm>
            <a:prstGeom prst="rect">
              <a:avLst/>
            </a:prstGeom>
            <a:noFill/>
          </p:spPr>
          <p:txBody>
            <a:bodyPr wrap="square">
              <a:spAutoFit/>
            </a:bodyPr>
            <a:lstStyle/>
            <a:p>
              <a:pPr algn="ctr"/>
              <a:r>
                <a:rPr lang="en-ZA" sz="2000" b="1" dirty="0">
                  <a:solidFill>
                    <a:srgbClr val="C3B69B"/>
                  </a:solidFill>
                  <a:latin typeface="Calibri" panose="020F0502020204030204"/>
                </a:rPr>
                <a:t>VISIBILITY</a:t>
              </a:r>
            </a:p>
            <a:p>
              <a:pPr algn="ctr"/>
              <a:endParaRPr lang="en-ZA" sz="2000" b="1" dirty="0">
                <a:solidFill>
                  <a:srgbClr val="C3B69B"/>
                </a:solidFill>
                <a:latin typeface="Calibri" panose="020F0502020204030204"/>
              </a:endParaRPr>
            </a:p>
            <a:p>
              <a:pPr algn="ctr"/>
              <a:endParaRPr lang="en-ZA" sz="2000" b="1" dirty="0">
                <a:solidFill>
                  <a:srgbClr val="C3B69B"/>
                </a:solidFill>
                <a:latin typeface="Calibri" panose="020F0502020204030204"/>
              </a:endParaRPr>
            </a:p>
            <a:p>
              <a:pPr algn="ctr"/>
              <a:endParaRPr lang="en-ZA" sz="2000" b="1" dirty="0">
                <a:solidFill>
                  <a:srgbClr val="C3B69B"/>
                </a:solidFill>
                <a:latin typeface="Calibri" panose="020F0502020204030204"/>
              </a:endParaRPr>
            </a:p>
            <a:p>
              <a:pPr algn="ctr"/>
              <a:endParaRPr lang="en-ZA" sz="600" b="1" dirty="0">
                <a:solidFill>
                  <a:srgbClr val="C3B69B"/>
                </a:solidFill>
                <a:latin typeface="Calibri" panose="020F0502020204030204"/>
              </a:endParaRPr>
            </a:p>
            <a:p>
              <a:pPr algn="ctr"/>
              <a:endParaRPr lang="en-ZA" b="1" dirty="0">
                <a:solidFill>
                  <a:srgbClr val="C3B69B"/>
                </a:solidFill>
                <a:latin typeface="Calibri" panose="020F0502020204030204"/>
              </a:endParaRPr>
            </a:p>
            <a:p>
              <a:pPr algn="ctr"/>
              <a:r>
                <a:rPr lang="en-ZA" sz="2000" b="1" dirty="0">
                  <a:solidFill>
                    <a:srgbClr val="C3B69B"/>
                  </a:solidFill>
                  <a:latin typeface="Calibri" panose="020F0502020204030204"/>
                </a:rPr>
                <a:t>RELEVANCE</a:t>
              </a:r>
            </a:p>
            <a:p>
              <a:pPr algn="ctr"/>
              <a:endParaRPr lang="en-ZA" sz="2000" b="1" dirty="0">
                <a:solidFill>
                  <a:srgbClr val="C3B69B"/>
                </a:solidFill>
                <a:latin typeface="Calibri" panose="020F0502020204030204"/>
              </a:endParaRPr>
            </a:p>
            <a:p>
              <a:pPr algn="ctr"/>
              <a:endParaRPr lang="en-ZA" sz="2000" b="1" dirty="0">
                <a:solidFill>
                  <a:srgbClr val="C3B69B"/>
                </a:solidFill>
                <a:latin typeface="Calibri" panose="020F0502020204030204"/>
              </a:endParaRPr>
            </a:p>
            <a:p>
              <a:pPr algn="ctr"/>
              <a:endParaRPr lang="en-ZA" sz="2000" b="1" dirty="0">
                <a:solidFill>
                  <a:srgbClr val="C3B69B"/>
                </a:solidFill>
                <a:latin typeface="Calibri" panose="020F0502020204030204"/>
              </a:endParaRPr>
            </a:p>
            <a:p>
              <a:pPr algn="ctr"/>
              <a:endParaRPr lang="en-ZA" sz="3200" b="1" dirty="0">
                <a:solidFill>
                  <a:srgbClr val="C3B69B"/>
                </a:solidFill>
                <a:latin typeface="Calibri" panose="020F0502020204030204"/>
              </a:endParaRPr>
            </a:p>
            <a:p>
              <a:pPr algn="ctr"/>
              <a:r>
                <a:rPr lang="en-ZA" sz="2000" b="1" dirty="0">
                  <a:solidFill>
                    <a:srgbClr val="C3B69B"/>
                  </a:solidFill>
                  <a:latin typeface="Calibri" panose="020F0502020204030204"/>
                </a:rPr>
                <a:t>IMPACT</a:t>
              </a:r>
            </a:p>
          </p:txBody>
        </p:sp>
        <p:sp>
          <p:nvSpPr>
            <p:cNvPr id="12" name="TextBox 11">
              <a:extLst>
                <a:ext uri="{FF2B5EF4-FFF2-40B4-BE49-F238E27FC236}">
                  <a16:creationId xmlns:a16="http://schemas.microsoft.com/office/drawing/2014/main" id="{A0E7BF4A-5C2D-4A7F-98FC-E0AC6D031E02}"/>
                </a:ext>
              </a:extLst>
            </p:cNvPr>
            <p:cNvSpPr txBox="1"/>
            <p:nvPr/>
          </p:nvSpPr>
          <p:spPr>
            <a:xfrm>
              <a:off x="4004150" y="1370172"/>
              <a:ext cx="3609762" cy="4387685"/>
            </a:xfrm>
            <a:prstGeom prst="rect">
              <a:avLst/>
            </a:prstGeom>
            <a:noFill/>
          </p:spPr>
          <p:txBody>
            <a:bodyPr wrap="square">
              <a:spAutoFit/>
            </a:bodyPr>
            <a:lstStyle/>
            <a:p>
              <a:pPr algn="just"/>
              <a:r>
                <a:rPr lang="en-GB" sz="1600" b="1" dirty="0">
                  <a:solidFill>
                    <a:srgbClr val="5B9BD5">
                      <a:lumMod val="75000"/>
                    </a:srgbClr>
                  </a:solidFill>
                  <a:latin typeface="Calibri" panose="020F0502020204030204"/>
                </a:rPr>
                <a:t>A multitude of interrelated communication, dissemination and knowledge exchange processes and practices working in a coordinated fashion to appropriately formulate, brand, promote, advocate for and market HSRC research outputs and outcomes.</a:t>
              </a:r>
            </a:p>
            <a:p>
              <a:endParaRPr lang="en-GB" sz="1200" dirty="0">
                <a:solidFill>
                  <a:srgbClr val="5B9BD5">
                    <a:lumMod val="75000"/>
                  </a:srgbClr>
                </a:solidFill>
                <a:latin typeface="Calibri" panose="020F0502020204030204"/>
              </a:endParaRPr>
            </a:p>
            <a:p>
              <a:endParaRPr lang="en-GB" sz="1200" dirty="0">
                <a:solidFill>
                  <a:srgbClr val="5B9BD5">
                    <a:lumMod val="75000"/>
                  </a:srgbClr>
                </a:solidFill>
                <a:latin typeface="Calibri" panose="020F0502020204030204"/>
              </a:endParaRPr>
            </a:p>
            <a:p>
              <a:endParaRPr lang="en-GB" sz="1200" dirty="0">
                <a:solidFill>
                  <a:srgbClr val="5B9BD5">
                    <a:lumMod val="75000"/>
                  </a:srgbClr>
                </a:solidFill>
                <a:latin typeface="Calibri" panose="020F0502020204030204"/>
              </a:endParaRPr>
            </a:p>
            <a:p>
              <a:pPr algn="just"/>
              <a:r>
                <a:rPr lang="en-ZA" b="1" dirty="0">
                  <a:solidFill>
                    <a:srgbClr val="5B9BD5">
                      <a:lumMod val="75000"/>
                    </a:srgbClr>
                  </a:solidFill>
                  <a:latin typeface="Calibri" panose="020F0502020204030204"/>
                </a:rPr>
                <a:t>Focuses and aligns our research activities with various national and regional priorities.</a:t>
              </a:r>
            </a:p>
            <a:p>
              <a:endParaRPr lang="en-ZA" sz="1200" dirty="0">
                <a:solidFill>
                  <a:srgbClr val="5B9BD5">
                    <a:lumMod val="75000"/>
                  </a:srgbClr>
                </a:solidFill>
                <a:latin typeface="Calibri" panose="020F0502020204030204"/>
              </a:endParaRPr>
            </a:p>
            <a:p>
              <a:endParaRPr lang="en-ZA" sz="1200" dirty="0">
                <a:solidFill>
                  <a:srgbClr val="5B9BD5">
                    <a:lumMod val="75000"/>
                  </a:srgbClr>
                </a:solidFill>
                <a:latin typeface="Calibri" panose="020F0502020204030204"/>
              </a:endParaRPr>
            </a:p>
            <a:p>
              <a:endParaRPr lang="en-ZA" sz="1200" dirty="0">
                <a:solidFill>
                  <a:srgbClr val="5B9BD5">
                    <a:lumMod val="75000"/>
                  </a:srgbClr>
                </a:solidFill>
                <a:latin typeface="Calibri" panose="020F0502020204030204"/>
              </a:endParaRPr>
            </a:p>
            <a:p>
              <a:endParaRPr lang="en-ZA" sz="2000" dirty="0">
                <a:solidFill>
                  <a:srgbClr val="5B9BD5">
                    <a:lumMod val="75000"/>
                  </a:srgbClr>
                </a:solidFill>
                <a:latin typeface="Calibri" panose="020F0502020204030204"/>
              </a:endParaRPr>
            </a:p>
            <a:p>
              <a:pPr algn="just"/>
              <a:r>
                <a:rPr lang="en-ZA" b="1" dirty="0">
                  <a:solidFill>
                    <a:srgbClr val="5B9BD5">
                      <a:lumMod val="75000"/>
                    </a:srgbClr>
                  </a:solidFill>
                  <a:latin typeface="Calibri" panose="020F0502020204030204"/>
                </a:rPr>
                <a:t>Planned (and unintended) positive benefit, influence or effect that can be demonstrated (through traditional and innovative research methods) to be as a result of the HSRC’s research activities (outputs and outcomes). </a:t>
              </a:r>
            </a:p>
            <a:p>
              <a:endParaRPr lang="en-ZA" sz="1200" dirty="0">
                <a:solidFill>
                  <a:srgbClr val="4472C4">
                    <a:lumMod val="75000"/>
                  </a:srgbClr>
                </a:solidFill>
                <a:latin typeface="Calibri" panose="020F0502020204030204"/>
              </a:endParaRPr>
            </a:p>
          </p:txBody>
        </p:sp>
      </p:grpSp>
    </p:spTree>
    <p:extLst>
      <p:ext uri="{BB962C8B-B14F-4D97-AF65-F5344CB8AC3E}">
        <p14:creationId xmlns:p14="http://schemas.microsoft.com/office/powerpoint/2010/main" val="2353598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95797" y="437458"/>
            <a:ext cx="2273301" cy="5090452"/>
          </a:xfrm>
        </p:spPr>
        <p:txBody>
          <a:bodyPr>
            <a:normAutofit/>
          </a:bodyPr>
          <a:lstStyle/>
          <a:p>
            <a:r>
              <a:rPr lang="en-US" sz="4500" dirty="0">
                <a:solidFill>
                  <a:schemeClr val="bg1"/>
                </a:solidFill>
                <a:latin typeface="+mn-lt"/>
              </a:rPr>
              <a:t>Critical research impact </a:t>
            </a:r>
          </a:p>
        </p:txBody>
      </p:sp>
      <p:sp>
        <p:nvSpPr>
          <p:cNvPr id="3" name="Content Placeholder 2"/>
          <p:cNvSpPr>
            <a:spLocks noGrp="1"/>
          </p:cNvSpPr>
          <p:nvPr>
            <p:ph idx="1"/>
          </p:nvPr>
        </p:nvSpPr>
        <p:spPr>
          <a:xfrm>
            <a:off x="4277474" y="226032"/>
            <a:ext cx="6143946" cy="5301878"/>
          </a:xfrm>
        </p:spPr>
        <p:txBody>
          <a:bodyPr>
            <a:normAutofit fontScale="62500" lnSpcReduction="20000"/>
          </a:bodyPr>
          <a:lstStyle/>
          <a:p>
            <a:pPr marL="377190" lvl="1" indent="0">
              <a:buNone/>
            </a:pPr>
            <a:r>
              <a:rPr lang="en-US" sz="3600" dirty="0">
                <a:solidFill>
                  <a:srgbClr val="C3B69B"/>
                </a:solidFill>
              </a:rPr>
              <a:t>Paramount in transformative contexts with deliberate social outcomes that will not be achieved without challenging the status quo</a:t>
            </a:r>
          </a:p>
          <a:p>
            <a:pPr lvl="1"/>
            <a:endParaRPr lang="en-US" sz="3600"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2"/>
            <a:endParaRPr lang="en-US" dirty="0"/>
          </a:p>
          <a:p>
            <a:pPr lvl="2"/>
            <a:endParaRPr lang="en-US" dirty="0"/>
          </a:p>
          <a:p>
            <a:pPr lvl="2"/>
            <a:endParaRPr lang="en-US" dirty="0"/>
          </a:p>
          <a:p>
            <a:pPr marL="720090" lvl="2" indent="0">
              <a:buNone/>
            </a:pPr>
            <a:endParaRPr lang="en-US" sz="1050" dirty="0"/>
          </a:p>
          <a:p>
            <a:pPr marL="720090" lvl="2" indent="0">
              <a:buNone/>
            </a:pPr>
            <a:endParaRPr lang="en-US" sz="1050" dirty="0"/>
          </a:p>
          <a:p>
            <a:pPr marL="720090" lvl="2" indent="0">
              <a:buNone/>
            </a:pPr>
            <a:endParaRPr lang="en-US" sz="1300" dirty="0">
              <a:solidFill>
                <a:schemeClr val="bg1"/>
              </a:solidFill>
            </a:endParaRPr>
          </a:p>
          <a:p>
            <a:pPr marL="720090" lvl="2" indent="0">
              <a:buNone/>
            </a:pPr>
            <a:endParaRPr lang="en-US" sz="1300" dirty="0">
              <a:solidFill>
                <a:schemeClr val="bg1"/>
              </a:solidFill>
            </a:endParaRPr>
          </a:p>
          <a:p>
            <a:pPr marL="720090" lvl="2" indent="0">
              <a:buNone/>
            </a:pPr>
            <a:endParaRPr lang="en-US" sz="1300" dirty="0">
              <a:solidFill>
                <a:schemeClr val="bg1"/>
              </a:solidFill>
            </a:endParaRPr>
          </a:p>
          <a:p>
            <a:pPr marL="720090" lvl="2" indent="0">
              <a:buNone/>
            </a:pPr>
            <a:endParaRPr lang="en-US" sz="1300" dirty="0">
              <a:solidFill>
                <a:schemeClr val="bg1"/>
              </a:solidFill>
            </a:endParaRPr>
          </a:p>
          <a:p>
            <a:pPr marL="720090" lvl="2" indent="0">
              <a:buNone/>
            </a:pPr>
            <a:endParaRPr lang="en-US" sz="1300" dirty="0">
              <a:solidFill>
                <a:schemeClr val="bg1"/>
              </a:solidFill>
            </a:endParaRPr>
          </a:p>
          <a:p>
            <a:pPr marL="720090" lvl="2" indent="0">
              <a:buNone/>
            </a:pPr>
            <a:r>
              <a:rPr lang="en-US" sz="1800" dirty="0">
                <a:solidFill>
                  <a:schemeClr val="bg1"/>
                </a:solidFill>
              </a:rPr>
              <a:t>Ruth Machen, ‘Impact from Critical Research’ LSE Blog (2018)</a:t>
            </a:r>
          </a:p>
        </p:txBody>
      </p:sp>
      <p:graphicFrame>
        <p:nvGraphicFramePr>
          <p:cNvPr id="4" name="Diagram 3"/>
          <p:cNvGraphicFramePr/>
          <p:nvPr>
            <p:extLst/>
          </p:nvPr>
        </p:nvGraphicFramePr>
        <p:xfrm>
          <a:off x="4277474" y="1479480"/>
          <a:ext cx="5761876" cy="30925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633957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4973" y="1"/>
            <a:ext cx="8402335" cy="1160980"/>
          </a:xfrm>
        </p:spPr>
        <p:txBody>
          <a:bodyPr>
            <a:normAutofit/>
          </a:bodyPr>
          <a:lstStyle/>
          <a:p>
            <a:r>
              <a:rPr lang="en-US" b="1" dirty="0">
                <a:solidFill>
                  <a:schemeClr val="bg1"/>
                </a:solidFill>
                <a:latin typeface="+mn-lt"/>
              </a:rPr>
              <a:t>Research Impact Interrupted </a:t>
            </a:r>
          </a:p>
        </p:txBody>
      </p:sp>
      <p:graphicFrame>
        <p:nvGraphicFramePr>
          <p:cNvPr id="4" name="Content Placeholder 3"/>
          <p:cNvGraphicFramePr>
            <a:graphicFrameLocks noGrp="1"/>
          </p:cNvGraphicFramePr>
          <p:nvPr>
            <p:ph idx="1"/>
          </p:nvPr>
        </p:nvGraphicFramePr>
        <p:xfrm>
          <a:off x="1864972" y="945222"/>
          <a:ext cx="8803028" cy="48185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48730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0BD3D2-8AF5-1746-A399-D35F26260DF3}"/>
              </a:ext>
            </a:extLst>
          </p:cNvPr>
          <p:cNvSpPr/>
          <p:nvPr/>
        </p:nvSpPr>
        <p:spPr>
          <a:xfrm>
            <a:off x="1524000" y="1638594"/>
            <a:ext cx="9144000" cy="43621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panose="020F0502020204030204"/>
            </a:endParaRPr>
          </a:p>
        </p:txBody>
      </p:sp>
      <p:sp>
        <p:nvSpPr>
          <p:cNvPr id="23" name="TextBox 22"/>
          <p:cNvSpPr txBox="1"/>
          <p:nvPr/>
        </p:nvSpPr>
        <p:spPr>
          <a:xfrm>
            <a:off x="2801634" y="3651047"/>
            <a:ext cx="6966774" cy="1558118"/>
          </a:xfrm>
          <a:prstGeom prst="rect">
            <a:avLst/>
          </a:prstGeom>
          <a:solidFill>
            <a:srgbClr val="B4D5DE"/>
          </a:solidFill>
          <a:ln>
            <a:noFill/>
          </a:ln>
        </p:spPr>
        <p:txBody>
          <a:bodyPr wrap="square" rtlCol="0">
            <a:noAutofit/>
          </a:bodyPr>
          <a:lstStyle/>
          <a:p>
            <a:endParaRPr lang="en-US" sz="1350" dirty="0">
              <a:solidFill>
                <a:prstClr val="black"/>
              </a:solidFill>
              <a:latin typeface="Calibri" panose="020F0502020204030204"/>
            </a:endParaRPr>
          </a:p>
          <a:p>
            <a:endParaRPr lang="en-US" sz="1350" dirty="0">
              <a:solidFill>
                <a:prstClr val="black"/>
              </a:solidFill>
              <a:latin typeface="Calibri" panose="020F0502020204030204"/>
            </a:endParaRPr>
          </a:p>
          <a:p>
            <a:endParaRPr lang="en-US" sz="1350" dirty="0">
              <a:solidFill>
                <a:prstClr val="black"/>
              </a:solidFill>
              <a:latin typeface="Calibri" panose="020F0502020204030204"/>
            </a:endParaRPr>
          </a:p>
          <a:p>
            <a:endParaRPr lang="en-US" sz="1350" dirty="0">
              <a:solidFill>
                <a:prstClr val="black"/>
              </a:solidFill>
              <a:latin typeface="Calibri" panose="020F0502020204030204"/>
            </a:endParaRPr>
          </a:p>
          <a:p>
            <a:endParaRPr lang="en-US" sz="1350" dirty="0">
              <a:solidFill>
                <a:prstClr val="black"/>
              </a:solidFill>
              <a:latin typeface="Calibri" panose="020F0502020204030204"/>
            </a:endParaRPr>
          </a:p>
          <a:p>
            <a:endParaRPr lang="en-US" sz="1350" dirty="0">
              <a:solidFill>
                <a:prstClr val="black"/>
              </a:solidFill>
              <a:latin typeface="Calibri" panose="020F0502020204030204"/>
            </a:endParaRPr>
          </a:p>
          <a:p>
            <a:pPr algn="ctr"/>
            <a:r>
              <a:rPr lang="en-US" sz="1425" dirty="0">
                <a:solidFill>
                  <a:prstClr val="black"/>
                </a:solidFill>
                <a:latin typeface="Calibri" panose="020F0502020204030204"/>
              </a:rPr>
              <a:t>4. Enriching the research environment for the HSRC and its researchers </a:t>
            </a:r>
          </a:p>
        </p:txBody>
      </p:sp>
      <p:sp>
        <p:nvSpPr>
          <p:cNvPr id="2" name="Title 1"/>
          <p:cNvSpPr>
            <a:spLocks noGrp="1"/>
          </p:cNvSpPr>
          <p:nvPr>
            <p:ph type="title"/>
          </p:nvPr>
        </p:nvSpPr>
        <p:spPr>
          <a:xfrm>
            <a:off x="1981200" y="421241"/>
            <a:ext cx="8229600" cy="843862"/>
          </a:xfrm>
        </p:spPr>
        <p:txBody>
          <a:bodyPr>
            <a:normAutofit fontScale="90000"/>
          </a:bodyPr>
          <a:lstStyle/>
          <a:p>
            <a:r>
              <a:rPr lang="en-US" b="1" dirty="0">
                <a:solidFill>
                  <a:schemeClr val="bg1"/>
                </a:solidFill>
                <a:latin typeface="+mn-lt"/>
              </a:rPr>
              <a:t>Impact Research and Practice Areas</a:t>
            </a:r>
          </a:p>
        </p:txBody>
      </p:sp>
      <p:sp>
        <p:nvSpPr>
          <p:cNvPr id="14" name="TextBox 13"/>
          <p:cNvSpPr txBox="1"/>
          <p:nvPr/>
        </p:nvSpPr>
        <p:spPr>
          <a:xfrm>
            <a:off x="1719799" y="2033923"/>
            <a:ext cx="1033436" cy="3181659"/>
          </a:xfrm>
          <a:prstGeom prst="rect">
            <a:avLst/>
          </a:prstGeom>
          <a:solidFill>
            <a:srgbClr val="CDDEB4"/>
          </a:solidFill>
        </p:spPr>
        <p:txBody>
          <a:bodyPr vert="vert270" wrap="square" rtlCol="0" anchor="ctr">
            <a:noAutofit/>
          </a:bodyPr>
          <a:lstStyle/>
          <a:p>
            <a:pPr algn="ctr"/>
            <a:r>
              <a:rPr lang="en-US" sz="1350" dirty="0">
                <a:solidFill>
                  <a:prstClr val="black"/>
                </a:solidFill>
                <a:latin typeface="Calibri" panose="020F0502020204030204"/>
              </a:rPr>
              <a:t>2. Developing concepts and a conceptual framework to understand how SSH </a:t>
            </a:r>
          </a:p>
          <a:p>
            <a:pPr algn="ctr"/>
            <a:r>
              <a:rPr lang="en-US" sz="1350" dirty="0">
                <a:solidFill>
                  <a:prstClr val="black"/>
                </a:solidFill>
                <a:latin typeface="Calibri" panose="020F0502020204030204"/>
              </a:rPr>
              <a:t>acts in the world</a:t>
            </a:r>
          </a:p>
        </p:txBody>
      </p:sp>
      <p:sp>
        <p:nvSpPr>
          <p:cNvPr id="15" name="TextBox 14"/>
          <p:cNvSpPr txBox="1"/>
          <p:nvPr/>
        </p:nvSpPr>
        <p:spPr>
          <a:xfrm>
            <a:off x="2801634" y="2033922"/>
            <a:ext cx="6966774" cy="1581202"/>
          </a:xfrm>
          <a:prstGeom prst="rect">
            <a:avLst/>
          </a:prstGeom>
          <a:solidFill>
            <a:srgbClr val="DED4CA"/>
          </a:solidFill>
          <a:ln>
            <a:noFill/>
          </a:ln>
        </p:spPr>
        <p:txBody>
          <a:bodyPr wrap="square" rtlCol="0">
            <a:spAutoFit/>
          </a:bodyPr>
          <a:lstStyle/>
          <a:p>
            <a:endParaRPr lang="en-US" sz="1350" dirty="0">
              <a:solidFill>
                <a:prstClr val="black"/>
              </a:solidFill>
              <a:latin typeface="Calibri" panose="020F0502020204030204"/>
            </a:endParaRPr>
          </a:p>
          <a:p>
            <a:endParaRPr lang="en-US" sz="1350" dirty="0">
              <a:solidFill>
                <a:prstClr val="black"/>
              </a:solidFill>
              <a:latin typeface="Calibri" panose="020F0502020204030204"/>
            </a:endParaRPr>
          </a:p>
          <a:p>
            <a:endParaRPr lang="en-US" sz="1350" dirty="0">
              <a:solidFill>
                <a:prstClr val="black"/>
              </a:solidFill>
              <a:latin typeface="Calibri" panose="020F0502020204030204"/>
            </a:endParaRPr>
          </a:p>
          <a:p>
            <a:endParaRPr lang="en-US" sz="1350" dirty="0">
              <a:solidFill>
                <a:prstClr val="black"/>
              </a:solidFill>
              <a:latin typeface="Calibri" panose="020F0502020204030204"/>
            </a:endParaRPr>
          </a:p>
          <a:p>
            <a:endParaRPr lang="en-US" sz="1425" dirty="0">
              <a:solidFill>
                <a:prstClr val="black"/>
              </a:solidFill>
              <a:latin typeface="Calibri" panose="020F0502020204030204"/>
            </a:endParaRPr>
          </a:p>
          <a:p>
            <a:pPr algn="ctr"/>
            <a:r>
              <a:rPr lang="en-US" sz="1425" dirty="0">
                <a:solidFill>
                  <a:prstClr val="black"/>
                </a:solidFill>
                <a:latin typeface="Calibri" panose="020F0502020204030204"/>
              </a:rPr>
              <a:t>1. Research to “improve understanding of social conditions </a:t>
            </a:r>
          </a:p>
          <a:p>
            <a:pPr algn="ctr"/>
            <a:r>
              <a:rPr lang="en-US" sz="1425" dirty="0">
                <a:solidFill>
                  <a:prstClr val="black"/>
                </a:solidFill>
                <a:latin typeface="Calibri" panose="020F0502020204030204"/>
              </a:rPr>
              <a:t>and the processes of social change”</a:t>
            </a:r>
          </a:p>
        </p:txBody>
      </p:sp>
      <p:sp>
        <p:nvSpPr>
          <p:cNvPr id="16" name="TextBox 15"/>
          <p:cNvSpPr txBox="1"/>
          <p:nvPr/>
        </p:nvSpPr>
        <p:spPr>
          <a:xfrm rot="10800000">
            <a:off x="9816807" y="2033921"/>
            <a:ext cx="802794" cy="3181661"/>
          </a:xfrm>
          <a:prstGeom prst="rect">
            <a:avLst/>
          </a:prstGeom>
          <a:solidFill>
            <a:srgbClr val="D8BFDE"/>
          </a:solidFill>
        </p:spPr>
        <p:txBody>
          <a:bodyPr vert="vert" wrap="square" rtlCol="0" anchor="ctr">
            <a:noAutofit/>
          </a:bodyPr>
          <a:lstStyle/>
          <a:p>
            <a:pPr algn="ctr"/>
            <a:r>
              <a:rPr lang="en-US" sz="1350" dirty="0">
                <a:solidFill>
                  <a:prstClr val="black"/>
                </a:solidFill>
                <a:latin typeface="Calibri" panose="020F0502020204030204"/>
              </a:rPr>
              <a:t>3. Showing impact: research impact</a:t>
            </a:r>
          </a:p>
          <a:p>
            <a:pPr algn="ctr"/>
            <a:r>
              <a:rPr lang="en-US" sz="1350" dirty="0">
                <a:solidFill>
                  <a:prstClr val="black"/>
                </a:solidFill>
                <a:latin typeface="Calibri" panose="020F0502020204030204"/>
              </a:rPr>
              <a:t> indicators and assessments</a:t>
            </a:r>
          </a:p>
        </p:txBody>
      </p:sp>
      <p:sp>
        <p:nvSpPr>
          <p:cNvPr id="18" name="TextBox 17"/>
          <p:cNvSpPr txBox="1"/>
          <p:nvPr/>
        </p:nvSpPr>
        <p:spPr>
          <a:xfrm>
            <a:off x="2909646" y="4072315"/>
            <a:ext cx="1763486" cy="715580"/>
          </a:xfrm>
          <a:prstGeom prst="rect">
            <a:avLst/>
          </a:prstGeom>
          <a:solidFill>
            <a:schemeClr val="bg1">
              <a:lumMod val="95000"/>
            </a:schemeClr>
          </a:solidFill>
        </p:spPr>
        <p:txBody>
          <a:bodyPr wrap="square" rtlCol="0">
            <a:noAutofit/>
          </a:bodyPr>
          <a:lstStyle/>
          <a:p>
            <a:r>
              <a:rPr lang="en-US" sz="1050" dirty="0">
                <a:solidFill>
                  <a:prstClr val="black"/>
                </a:solidFill>
                <a:latin typeface="Calibri" panose="020F0502020204030204"/>
              </a:rPr>
              <a:t>Influencing policy: policy dialogues, policy brief series, evidence synthesis</a:t>
            </a:r>
          </a:p>
        </p:txBody>
      </p:sp>
      <p:sp>
        <p:nvSpPr>
          <p:cNvPr id="19" name="TextBox 18"/>
          <p:cNvSpPr txBox="1"/>
          <p:nvPr/>
        </p:nvSpPr>
        <p:spPr>
          <a:xfrm>
            <a:off x="4788601" y="4072315"/>
            <a:ext cx="1612076" cy="715580"/>
          </a:xfrm>
          <a:prstGeom prst="rect">
            <a:avLst/>
          </a:prstGeom>
          <a:solidFill>
            <a:schemeClr val="bg1">
              <a:lumMod val="95000"/>
            </a:schemeClr>
          </a:solidFill>
        </p:spPr>
        <p:txBody>
          <a:bodyPr wrap="square" rtlCol="0">
            <a:noAutofit/>
          </a:bodyPr>
          <a:lstStyle/>
          <a:p>
            <a:r>
              <a:rPr lang="en-US" sz="1050" dirty="0">
                <a:solidFill>
                  <a:prstClr val="black"/>
                </a:solidFill>
                <a:latin typeface="Calibri" panose="020F0502020204030204"/>
              </a:rPr>
              <a:t>Informing society: communication campaigns, website, visibility</a:t>
            </a:r>
          </a:p>
        </p:txBody>
      </p:sp>
      <p:sp>
        <p:nvSpPr>
          <p:cNvPr id="20" name="TextBox 19"/>
          <p:cNvSpPr txBox="1"/>
          <p:nvPr/>
        </p:nvSpPr>
        <p:spPr>
          <a:xfrm>
            <a:off x="6516146" y="4072315"/>
            <a:ext cx="1647702" cy="715580"/>
          </a:xfrm>
          <a:prstGeom prst="rect">
            <a:avLst/>
          </a:prstGeom>
          <a:solidFill>
            <a:schemeClr val="bg1">
              <a:lumMod val="95000"/>
            </a:schemeClr>
          </a:solidFill>
        </p:spPr>
        <p:txBody>
          <a:bodyPr wrap="square" rtlCol="0">
            <a:noAutofit/>
          </a:bodyPr>
          <a:lstStyle/>
          <a:p>
            <a:r>
              <a:rPr lang="en-US" sz="1050" dirty="0">
                <a:solidFill>
                  <a:prstClr val="black"/>
                </a:solidFill>
                <a:latin typeface="Calibri" panose="020F0502020204030204"/>
              </a:rPr>
              <a:t>Enhancing impact skills of HSRC researchers: trainings, seminars and toolkits</a:t>
            </a:r>
          </a:p>
        </p:txBody>
      </p:sp>
      <p:sp>
        <p:nvSpPr>
          <p:cNvPr id="21" name="TextBox 20"/>
          <p:cNvSpPr txBox="1"/>
          <p:nvPr/>
        </p:nvSpPr>
        <p:spPr>
          <a:xfrm>
            <a:off x="8279318" y="4072315"/>
            <a:ext cx="1368439" cy="715580"/>
          </a:xfrm>
          <a:prstGeom prst="rect">
            <a:avLst/>
          </a:prstGeom>
          <a:solidFill>
            <a:schemeClr val="bg1">
              <a:lumMod val="95000"/>
            </a:schemeClr>
          </a:solidFill>
        </p:spPr>
        <p:txBody>
          <a:bodyPr wrap="square" rtlCol="0">
            <a:noAutofit/>
          </a:bodyPr>
          <a:lstStyle/>
          <a:p>
            <a:r>
              <a:rPr lang="en-US" sz="1050" dirty="0">
                <a:solidFill>
                  <a:prstClr val="black"/>
                </a:solidFill>
                <a:latin typeface="Calibri" panose="020F0502020204030204"/>
              </a:rPr>
              <a:t>Supporting institution-wide strategy on impact</a:t>
            </a:r>
          </a:p>
        </p:txBody>
      </p:sp>
      <p:sp>
        <p:nvSpPr>
          <p:cNvPr id="8" name="TextBox 7"/>
          <p:cNvSpPr txBox="1"/>
          <p:nvPr/>
        </p:nvSpPr>
        <p:spPr>
          <a:xfrm>
            <a:off x="1719799" y="1686372"/>
            <a:ext cx="8899802" cy="311624"/>
          </a:xfrm>
          <a:prstGeom prst="rect">
            <a:avLst/>
          </a:prstGeom>
          <a:solidFill>
            <a:schemeClr val="bg1">
              <a:lumMod val="95000"/>
            </a:schemeClr>
          </a:solidFill>
        </p:spPr>
        <p:txBody>
          <a:bodyPr wrap="square" rtlCol="0">
            <a:spAutoFit/>
          </a:bodyPr>
          <a:lstStyle/>
          <a:p>
            <a:pPr algn="ctr"/>
            <a:r>
              <a:rPr lang="en-US" sz="1425" dirty="0">
                <a:solidFill>
                  <a:prstClr val="black"/>
                </a:solidFill>
                <a:latin typeface="Calibri" panose="020F0502020204030204"/>
              </a:rPr>
              <a:t>Transformation of South Africa</a:t>
            </a:r>
          </a:p>
        </p:txBody>
      </p:sp>
      <p:sp>
        <p:nvSpPr>
          <p:cNvPr id="9" name="TextBox 8"/>
          <p:cNvSpPr txBox="1"/>
          <p:nvPr/>
        </p:nvSpPr>
        <p:spPr>
          <a:xfrm>
            <a:off x="3295979" y="2105594"/>
            <a:ext cx="1069608" cy="807914"/>
          </a:xfrm>
          <a:prstGeom prst="rect">
            <a:avLst/>
          </a:prstGeom>
          <a:solidFill>
            <a:schemeClr val="bg1">
              <a:lumMod val="95000"/>
            </a:schemeClr>
          </a:solidFill>
        </p:spPr>
        <p:txBody>
          <a:bodyPr wrap="square" rtlCol="0">
            <a:noAutofit/>
          </a:bodyPr>
          <a:lstStyle/>
          <a:p>
            <a:r>
              <a:rPr lang="en-US" sz="1200" dirty="0">
                <a:solidFill>
                  <a:prstClr val="black"/>
                </a:solidFill>
                <a:latin typeface="Calibri" panose="020F0502020204030204"/>
              </a:rPr>
              <a:t>Advancing public debate and critical publics</a:t>
            </a:r>
          </a:p>
        </p:txBody>
      </p:sp>
      <p:sp>
        <p:nvSpPr>
          <p:cNvPr id="10" name="TextBox 9"/>
          <p:cNvSpPr txBox="1"/>
          <p:nvPr/>
        </p:nvSpPr>
        <p:spPr>
          <a:xfrm>
            <a:off x="4422251" y="2097400"/>
            <a:ext cx="1069608" cy="807914"/>
          </a:xfrm>
          <a:prstGeom prst="rect">
            <a:avLst/>
          </a:prstGeom>
          <a:solidFill>
            <a:schemeClr val="bg1">
              <a:lumMod val="95000"/>
            </a:schemeClr>
          </a:solidFill>
        </p:spPr>
        <p:txBody>
          <a:bodyPr wrap="square" rtlCol="0">
            <a:noAutofit/>
          </a:bodyPr>
          <a:lstStyle/>
          <a:p>
            <a:r>
              <a:rPr lang="en-US" sz="1200" dirty="0">
                <a:solidFill>
                  <a:prstClr val="black"/>
                </a:solidFill>
                <a:latin typeface="Calibri" panose="020F0502020204030204"/>
              </a:rPr>
              <a:t>Expanding knowledge base on social conditions</a:t>
            </a:r>
          </a:p>
        </p:txBody>
      </p:sp>
      <p:sp>
        <p:nvSpPr>
          <p:cNvPr id="11" name="TextBox 10"/>
          <p:cNvSpPr txBox="1"/>
          <p:nvPr/>
        </p:nvSpPr>
        <p:spPr>
          <a:xfrm>
            <a:off x="5561196" y="2097400"/>
            <a:ext cx="1069608" cy="807914"/>
          </a:xfrm>
          <a:prstGeom prst="rect">
            <a:avLst/>
          </a:prstGeom>
          <a:solidFill>
            <a:schemeClr val="bg1">
              <a:lumMod val="95000"/>
            </a:schemeClr>
          </a:solidFill>
        </p:spPr>
        <p:txBody>
          <a:bodyPr wrap="square" rtlCol="0">
            <a:noAutofit/>
          </a:bodyPr>
          <a:lstStyle/>
          <a:p>
            <a:r>
              <a:rPr lang="en-US" sz="1200" dirty="0">
                <a:solidFill>
                  <a:prstClr val="black"/>
                </a:solidFill>
                <a:latin typeface="Calibri" panose="020F0502020204030204"/>
              </a:rPr>
              <a:t>Changing public attitudes and behavior </a:t>
            </a:r>
          </a:p>
        </p:txBody>
      </p:sp>
      <p:sp>
        <p:nvSpPr>
          <p:cNvPr id="12" name="TextBox 11"/>
          <p:cNvSpPr txBox="1"/>
          <p:nvPr/>
        </p:nvSpPr>
        <p:spPr>
          <a:xfrm>
            <a:off x="6687468" y="2097400"/>
            <a:ext cx="1069608" cy="807914"/>
          </a:xfrm>
          <a:prstGeom prst="rect">
            <a:avLst/>
          </a:prstGeom>
          <a:solidFill>
            <a:schemeClr val="bg1">
              <a:lumMod val="95000"/>
            </a:schemeClr>
          </a:solidFill>
        </p:spPr>
        <p:txBody>
          <a:bodyPr wrap="square" rtlCol="0">
            <a:noAutofit/>
          </a:bodyPr>
          <a:lstStyle/>
          <a:p>
            <a:r>
              <a:rPr lang="en-US" sz="1200" dirty="0">
                <a:solidFill>
                  <a:prstClr val="black"/>
                </a:solidFill>
                <a:latin typeface="Calibri" panose="020F0502020204030204"/>
              </a:rPr>
              <a:t>Platforming marginalised groups/ voices</a:t>
            </a:r>
          </a:p>
        </p:txBody>
      </p:sp>
      <p:sp>
        <p:nvSpPr>
          <p:cNvPr id="13" name="TextBox 12"/>
          <p:cNvSpPr txBox="1"/>
          <p:nvPr/>
        </p:nvSpPr>
        <p:spPr>
          <a:xfrm>
            <a:off x="7838855" y="2097469"/>
            <a:ext cx="1166954" cy="807914"/>
          </a:xfrm>
          <a:prstGeom prst="rect">
            <a:avLst/>
          </a:prstGeom>
          <a:solidFill>
            <a:schemeClr val="bg1">
              <a:lumMod val="95000"/>
            </a:schemeClr>
          </a:solidFill>
        </p:spPr>
        <p:txBody>
          <a:bodyPr wrap="square" rtlCol="0">
            <a:noAutofit/>
          </a:bodyPr>
          <a:lstStyle/>
          <a:p>
            <a:r>
              <a:rPr lang="en-US" sz="1200" dirty="0">
                <a:solidFill>
                  <a:prstClr val="black"/>
                </a:solidFill>
                <a:latin typeface="Calibri" panose="020F0502020204030204"/>
              </a:rPr>
              <a:t>Informing and analyzing policy and decision-making</a:t>
            </a:r>
          </a:p>
        </p:txBody>
      </p:sp>
      <p:sp>
        <p:nvSpPr>
          <p:cNvPr id="25" name="TextBox 24">
            <a:extLst>
              <a:ext uri="{FF2B5EF4-FFF2-40B4-BE49-F238E27FC236}">
                <a16:creationId xmlns:a16="http://schemas.microsoft.com/office/drawing/2014/main" id="{5DFD7E95-E200-B843-8713-055336ACC7F7}"/>
              </a:ext>
            </a:extLst>
          </p:cNvPr>
          <p:cNvSpPr txBox="1"/>
          <p:nvPr/>
        </p:nvSpPr>
        <p:spPr>
          <a:xfrm>
            <a:off x="1699553" y="5274586"/>
            <a:ext cx="8920049" cy="654560"/>
          </a:xfrm>
          <a:prstGeom prst="rect">
            <a:avLst/>
          </a:prstGeom>
          <a:solidFill>
            <a:schemeClr val="bg1">
              <a:lumMod val="95000"/>
            </a:schemeClr>
          </a:solidFill>
        </p:spPr>
        <p:txBody>
          <a:bodyPr wrap="square" rtlCol="0" anchor="ctr">
            <a:noAutofit/>
          </a:bodyPr>
          <a:lstStyle/>
          <a:p>
            <a:pPr algn="ctr"/>
            <a:r>
              <a:rPr lang="en-US" sz="1425" dirty="0">
                <a:solidFill>
                  <a:prstClr val="black"/>
                </a:solidFill>
                <a:latin typeface="Calibri" panose="020F0502020204030204"/>
              </a:rPr>
              <a:t>Impact Centre Practice</a:t>
            </a:r>
          </a:p>
        </p:txBody>
      </p:sp>
      <p:sp>
        <p:nvSpPr>
          <p:cNvPr id="5" name="Up-down Arrow 4">
            <a:extLst>
              <a:ext uri="{FF2B5EF4-FFF2-40B4-BE49-F238E27FC236}">
                <a16:creationId xmlns:a16="http://schemas.microsoft.com/office/drawing/2014/main" id="{483C38FB-40A7-5B4C-8FE6-E97D0E4B64CA}"/>
              </a:ext>
            </a:extLst>
          </p:cNvPr>
          <p:cNvSpPr/>
          <p:nvPr/>
        </p:nvSpPr>
        <p:spPr>
          <a:xfrm>
            <a:off x="3079955" y="4990688"/>
            <a:ext cx="216024" cy="423839"/>
          </a:xfrm>
          <a:prstGeom prst="up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panose="020F0502020204030204"/>
            </a:endParaRPr>
          </a:p>
        </p:txBody>
      </p:sp>
      <p:sp>
        <p:nvSpPr>
          <p:cNvPr id="26" name="Up-down Arrow 25">
            <a:extLst>
              <a:ext uri="{FF2B5EF4-FFF2-40B4-BE49-F238E27FC236}">
                <a16:creationId xmlns:a16="http://schemas.microsoft.com/office/drawing/2014/main" id="{9B27EDE1-717A-B142-A40A-5BE8B2BF06CB}"/>
              </a:ext>
            </a:extLst>
          </p:cNvPr>
          <p:cNvSpPr/>
          <p:nvPr/>
        </p:nvSpPr>
        <p:spPr>
          <a:xfrm>
            <a:off x="9127285" y="4988018"/>
            <a:ext cx="216024" cy="423839"/>
          </a:xfrm>
          <a:prstGeom prst="up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latin typeface="Calibri" panose="020F0502020204030204"/>
            </a:endParaRPr>
          </a:p>
        </p:txBody>
      </p:sp>
    </p:spTree>
    <p:extLst>
      <p:ext uri="{BB962C8B-B14F-4D97-AF65-F5344CB8AC3E}">
        <p14:creationId xmlns:p14="http://schemas.microsoft.com/office/powerpoint/2010/main" val="25501497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DBDDC3-1644-463F-A6BA-CF3FD8D5299F}"/>
              </a:ext>
            </a:extLst>
          </p:cNvPr>
          <p:cNvSpPr>
            <a:spLocks noGrp="1"/>
          </p:cNvSpPr>
          <p:nvPr>
            <p:ph type="title"/>
          </p:nvPr>
        </p:nvSpPr>
        <p:spPr>
          <a:xfrm>
            <a:off x="1524001" y="-20640"/>
            <a:ext cx="9015412" cy="1325563"/>
          </a:xfrm>
        </p:spPr>
        <p:txBody>
          <a:bodyPr/>
          <a:lstStyle/>
          <a:p>
            <a:pPr algn="ctr"/>
            <a:r>
              <a:rPr lang="en-ZA" dirty="0">
                <a:solidFill>
                  <a:schemeClr val="bg1"/>
                </a:solidFill>
                <a:latin typeface="+mn-lt"/>
              </a:rPr>
              <a:t>Enhancing social impact </a:t>
            </a:r>
          </a:p>
        </p:txBody>
      </p:sp>
      <p:sp>
        <p:nvSpPr>
          <p:cNvPr id="3" name="Content Placeholder 2">
            <a:extLst>
              <a:ext uri="{FF2B5EF4-FFF2-40B4-BE49-F238E27FC236}">
                <a16:creationId xmlns:a16="http://schemas.microsoft.com/office/drawing/2014/main" id="{24DF90CF-A10F-4BE9-ACB9-2AA88DE78553}"/>
              </a:ext>
            </a:extLst>
          </p:cNvPr>
          <p:cNvSpPr>
            <a:spLocks noGrp="1"/>
          </p:cNvSpPr>
          <p:nvPr>
            <p:ph idx="1"/>
          </p:nvPr>
        </p:nvSpPr>
        <p:spPr>
          <a:xfrm>
            <a:off x="1652587" y="1128141"/>
            <a:ext cx="8886826" cy="4779499"/>
          </a:xfrm>
        </p:spPr>
        <p:txBody>
          <a:bodyPr>
            <a:noAutofit/>
          </a:bodyPr>
          <a:lstStyle/>
          <a:p>
            <a:pPr algn="just">
              <a:lnSpc>
                <a:spcPct val="120000"/>
              </a:lnSpc>
            </a:pPr>
            <a:r>
              <a:rPr lang="en-ZA" sz="2000" dirty="0">
                <a:solidFill>
                  <a:schemeClr val="bg1"/>
                </a:solidFill>
              </a:rPr>
              <a:t>Developing and supporting clear strategic executive priorities and objectives for effective social impact.</a:t>
            </a:r>
          </a:p>
          <a:p>
            <a:pPr algn="just">
              <a:lnSpc>
                <a:spcPct val="120000"/>
              </a:lnSpc>
            </a:pPr>
            <a:r>
              <a:rPr lang="en-ZA" sz="2000" dirty="0">
                <a:solidFill>
                  <a:schemeClr val="bg1"/>
                </a:solidFill>
              </a:rPr>
              <a:t>Developing and coordinating key strategies (Research Use, Communications, Strategic Partnership and Impact Systems) to support this. </a:t>
            </a:r>
          </a:p>
          <a:p>
            <a:pPr algn="just">
              <a:lnSpc>
                <a:spcPct val="120000"/>
              </a:lnSpc>
            </a:pPr>
            <a:r>
              <a:rPr lang="en-ZA" sz="2000" dirty="0">
                <a:solidFill>
                  <a:schemeClr val="bg1"/>
                </a:solidFill>
              </a:rPr>
              <a:t>Since impact assess is a time and resource intensive exercise the HSRC should have a way of deciding which research projects/programmes are to be assessed for societal impact during a given assessment cycle. </a:t>
            </a:r>
          </a:p>
          <a:p>
            <a:pPr algn="just">
              <a:lnSpc>
                <a:spcPct val="120000"/>
              </a:lnSpc>
            </a:pPr>
            <a:r>
              <a:rPr lang="en-ZA" sz="2000" dirty="0">
                <a:solidFill>
                  <a:schemeClr val="bg1"/>
                </a:solidFill>
              </a:rPr>
              <a:t>On-going training of researchers on impact design, monitoring and assessment alongside training to enhance a culture and practices of research excellence</a:t>
            </a:r>
          </a:p>
          <a:p>
            <a:pPr algn="just">
              <a:lnSpc>
                <a:spcPct val="120000"/>
              </a:lnSpc>
            </a:pPr>
            <a:r>
              <a:rPr lang="en-ZA" sz="2000" dirty="0">
                <a:solidFill>
                  <a:schemeClr val="bg1"/>
                </a:solidFill>
              </a:rPr>
              <a:t>How do we describe what we do and how/if it works?</a:t>
            </a:r>
          </a:p>
          <a:p>
            <a:pPr algn="just">
              <a:lnSpc>
                <a:spcPct val="120000"/>
              </a:lnSpc>
            </a:pPr>
            <a:r>
              <a:rPr lang="en-US" sz="2000" dirty="0">
                <a:solidFill>
                  <a:schemeClr val="bg1"/>
                </a:solidFill>
              </a:rPr>
              <a:t>How do we push the frontiers of human knowledge and understanding?</a:t>
            </a:r>
          </a:p>
        </p:txBody>
      </p:sp>
      <p:cxnSp>
        <p:nvCxnSpPr>
          <p:cNvPr id="4" name="Straight Connector 3">
            <a:extLst>
              <a:ext uri="{FF2B5EF4-FFF2-40B4-BE49-F238E27FC236}">
                <a16:creationId xmlns:a16="http://schemas.microsoft.com/office/drawing/2014/main" id="{E555BBD6-B4A9-46A4-BD3F-48BBA8396A19}"/>
              </a:ext>
            </a:extLst>
          </p:cNvPr>
          <p:cNvCxnSpPr>
            <a:cxnSpLocks/>
          </p:cNvCxnSpPr>
          <p:nvPr/>
        </p:nvCxnSpPr>
        <p:spPr>
          <a:xfrm>
            <a:off x="3611835" y="1128140"/>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60415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3D77BE-6B5A-446D-B167-DEC37FD0521A}"/>
              </a:ext>
            </a:extLst>
          </p:cNvPr>
          <p:cNvSpPr>
            <a:spLocks noGrp="1"/>
          </p:cNvSpPr>
          <p:nvPr>
            <p:ph type="title"/>
          </p:nvPr>
        </p:nvSpPr>
        <p:spPr/>
        <p:txBody>
          <a:bodyPr/>
          <a:lstStyle/>
          <a:p>
            <a:r>
              <a:rPr lang="en-GB" dirty="0"/>
              <a:t>Impact assessment for Effectiveness</a:t>
            </a:r>
            <a:endParaRPr lang="nl-NL" dirty="0"/>
          </a:p>
        </p:txBody>
      </p:sp>
      <p:sp>
        <p:nvSpPr>
          <p:cNvPr id="7" name="Text Placeholder 6">
            <a:extLst>
              <a:ext uri="{FF2B5EF4-FFF2-40B4-BE49-F238E27FC236}">
                <a16:creationId xmlns:a16="http://schemas.microsoft.com/office/drawing/2014/main" id="{6C40AC4E-90A6-EF4F-BFD0-47B90AF0481A}"/>
              </a:ext>
            </a:extLst>
          </p:cNvPr>
          <p:cNvSpPr>
            <a:spLocks noGrp="1"/>
          </p:cNvSpPr>
          <p:nvPr>
            <p:ph type="body" sz="quarter" idx="13"/>
          </p:nvPr>
        </p:nvSpPr>
        <p:spPr>
          <a:xfrm>
            <a:off x="3877962" y="4506876"/>
            <a:ext cx="8042067" cy="808074"/>
          </a:xfrm>
        </p:spPr>
        <p:txBody>
          <a:bodyPr/>
          <a:lstStyle/>
          <a:p>
            <a:r>
              <a:rPr lang="en-US" dirty="0"/>
              <a:t>AESIS CONFERENCE, June 23-25, 2021 | Cape </a:t>
            </a:r>
            <a:r>
              <a:rPr lang="en-US" dirty="0" err="1"/>
              <a:t>tOWN</a:t>
            </a:r>
            <a:endParaRPr lang="en-US" dirty="0"/>
          </a:p>
          <a:p>
            <a:r>
              <a:rPr lang="en-US" sz="1200" dirty="0"/>
              <a:t>Prof. dr. </a:t>
            </a:r>
            <a:r>
              <a:rPr lang="en-US" dirty="0"/>
              <a:t>Barend van der Meulen</a:t>
            </a:r>
          </a:p>
        </p:txBody>
      </p:sp>
      <p:sp>
        <p:nvSpPr>
          <p:cNvPr id="13" name="Text Placeholder 12">
            <a:extLst>
              <a:ext uri="{FF2B5EF4-FFF2-40B4-BE49-F238E27FC236}">
                <a16:creationId xmlns:a16="http://schemas.microsoft.com/office/drawing/2014/main" id="{A771C47F-8AB5-4A48-9EC0-658EF2419CFD}"/>
              </a:ext>
            </a:extLst>
          </p:cNvPr>
          <p:cNvSpPr>
            <a:spLocks noGrp="1"/>
          </p:cNvSpPr>
          <p:nvPr>
            <p:ph type="body" sz="quarter" idx="14"/>
          </p:nvPr>
        </p:nvSpPr>
        <p:spPr>
          <a:xfrm>
            <a:off x="377907" y="951512"/>
            <a:ext cx="3924853" cy="365125"/>
          </a:xfrm>
        </p:spPr>
        <p:txBody>
          <a:bodyPr/>
          <a:lstStyle/>
          <a:p>
            <a:endParaRPr lang="nl-NL"/>
          </a:p>
        </p:txBody>
      </p:sp>
    </p:spTree>
    <p:extLst>
      <p:ext uri="{BB962C8B-B14F-4D97-AF65-F5344CB8AC3E}">
        <p14:creationId xmlns:p14="http://schemas.microsoft.com/office/powerpoint/2010/main" val="4899018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796288D-8129-416F-A4D3-419FC4D90E96}"/>
              </a:ext>
            </a:extLst>
          </p:cNvPr>
          <p:cNvSpPr txBox="1"/>
          <p:nvPr/>
        </p:nvSpPr>
        <p:spPr>
          <a:xfrm>
            <a:off x="1916743" y="1904514"/>
            <a:ext cx="4251177" cy="3170099"/>
          </a:xfrm>
          <a:prstGeom prst="rect">
            <a:avLst/>
          </a:prstGeom>
          <a:noFill/>
        </p:spPr>
        <p:txBody>
          <a:bodyPr wrap="square" rtlCol="0">
            <a:spAutoFit/>
          </a:bodyPr>
          <a:lstStyle/>
          <a:p>
            <a:pPr marL="342900" indent="-342900" algn="just">
              <a:buFont typeface="Symbol" panose="05050102010706020507" pitchFamily="18" charset="2"/>
              <a:buChar char=""/>
            </a:pPr>
            <a:r>
              <a:rPr lang="en-GB" sz="2000" dirty="0">
                <a:solidFill>
                  <a:prstClr val="white"/>
                </a:solidFill>
                <a:latin typeface="Calibri" panose="020F0502020204030204"/>
                <a:ea typeface="Calibri" panose="020F0502020204030204" pitchFamily="34" charset="0"/>
                <a:cs typeface="Times New Roman (Body CS)"/>
              </a:rPr>
              <a:t>Effective social impact must be explicitly designed and strategically positioned as an institutional priority. </a:t>
            </a:r>
            <a:endParaRPr lang="en-ZA" sz="2000" dirty="0">
              <a:solidFill>
                <a:prstClr val="white"/>
              </a:solidFill>
              <a:latin typeface="Calibri" panose="020F0502020204030204"/>
              <a:ea typeface="Calibri" panose="020F0502020204030204" pitchFamily="34" charset="0"/>
              <a:cs typeface="Times New Roman (Body CS)"/>
            </a:endParaRPr>
          </a:p>
          <a:p>
            <a:pPr marL="342900" indent="-342900" algn="just">
              <a:buFont typeface="Symbol" panose="05050102010706020507" pitchFamily="18" charset="2"/>
              <a:buChar char=""/>
            </a:pPr>
            <a:r>
              <a:rPr lang="en-GB" sz="2000" dirty="0">
                <a:solidFill>
                  <a:prstClr val="white"/>
                </a:solidFill>
                <a:latin typeface="Calibri" panose="020F0502020204030204"/>
                <a:ea typeface="Calibri" panose="020F0502020204030204" pitchFamily="34" charset="0"/>
                <a:cs typeface="Times New Roman (Body CS)"/>
              </a:rPr>
              <a:t>As, Peter Drucker observed, “culture eats strategy for breakfast” -  effective social impact must also importantly be an institutional culture giving life and meaning to institutional strategy.</a:t>
            </a:r>
            <a:endParaRPr lang="en-ZA" sz="2000" dirty="0">
              <a:solidFill>
                <a:prstClr val="white"/>
              </a:solidFill>
              <a:latin typeface="Calibri" panose="020F0502020204030204"/>
              <a:ea typeface="Calibri" panose="020F0502020204030204" pitchFamily="34" charset="0"/>
              <a:cs typeface="Times New Roman (Body CS)"/>
            </a:endParaRPr>
          </a:p>
        </p:txBody>
      </p:sp>
      <p:pic>
        <p:nvPicPr>
          <p:cNvPr id="6" name="Picture 5">
            <a:extLst>
              <a:ext uri="{FF2B5EF4-FFF2-40B4-BE49-F238E27FC236}">
                <a16:creationId xmlns:a16="http://schemas.microsoft.com/office/drawing/2014/main" id="{CA7E5B74-D831-6644-86D7-C6CB3B4B5F03}"/>
              </a:ext>
            </a:extLst>
          </p:cNvPr>
          <p:cNvPicPr>
            <a:picLocks noChangeAspect="1"/>
          </p:cNvPicPr>
          <p:nvPr/>
        </p:nvPicPr>
        <p:blipFill>
          <a:blip r:embed="rId3"/>
          <a:stretch>
            <a:fillRect/>
          </a:stretch>
        </p:blipFill>
        <p:spPr>
          <a:xfrm>
            <a:off x="6567061" y="186484"/>
            <a:ext cx="4120897" cy="5568697"/>
          </a:xfrm>
          <a:prstGeom prst="rect">
            <a:avLst/>
          </a:prstGeom>
        </p:spPr>
      </p:pic>
      <p:sp>
        <p:nvSpPr>
          <p:cNvPr id="7" name="Rectangle 6">
            <a:extLst>
              <a:ext uri="{FF2B5EF4-FFF2-40B4-BE49-F238E27FC236}">
                <a16:creationId xmlns:a16="http://schemas.microsoft.com/office/drawing/2014/main" id="{93F37914-DC3D-B84B-98AB-870BDC992C27}"/>
              </a:ext>
            </a:extLst>
          </p:cNvPr>
          <p:cNvSpPr/>
          <p:nvPr/>
        </p:nvSpPr>
        <p:spPr>
          <a:xfrm>
            <a:off x="1721470" y="1595109"/>
            <a:ext cx="5589720" cy="1077218"/>
          </a:xfrm>
          <a:prstGeom prst="rect">
            <a:avLst/>
          </a:prstGeom>
        </p:spPr>
        <p:txBody>
          <a:bodyPr wrap="square">
            <a:spAutoFit/>
          </a:bodyPr>
          <a:lstStyle/>
          <a:p>
            <a:pPr algn="ctr"/>
            <a:endParaRPr lang="en-US" sz="3200" dirty="0">
              <a:solidFill>
                <a:prstClr val="white">
                  <a:lumMod val="95000"/>
                </a:prstClr>
              </a:solidFill>
              <a:latin typeface="Calibri" panose="020F0502020204030204"/>
            </a:endParaRPr>
          </a:p>
          <a:p>
            <a:pPr algn="ctr"/>
            <a:endParaRPr lang="en-US" sz="3200" dirty="0">
              <a:solidFill>
                <a:prstClr val="white">
                  <a:lumMod val="95000"/>
                </a:prstClr>
              </a:solidFill>
              <a:latin typeface="Calibri" panose="020F0502020204030204"/>
            </a:endParaRPr>
          </a:p>
        </p:txBody>
      </p:sp>
      <p:sp>
        <p:nvSpPr>
          <p:cNvPr id="8" name="Rectangle 7">
            <a:extLst>
              <a:ext uri="{FF2B5EF4-FFF2-40B4-BE49-F238E27FC236}">
                <a16:creationId xmlns:a16="http://schemas.microsoft.com/office/drawing/2014/main" id="{346F188C-F6A6-A043-B947-1544BD1BBB14}"/>
              </a:ext>
            </a:extLst>
          </p:cNvPr>
          <p:cNvSpPr/>
          <p:nvPr/>
        </p:nvSpPr>
        <p:spPr>
          <a:xfrm>
            <a:off x="1524001" y="667665"/>
            <a:ext cx="5589720" cy="769441"/>
          </a:xfrm>
          <a:prstGeom prst="rect">
            <a:avLst/>
          </a:prstGeom>
        </p:spPr>
        <p:txBody>
          <a:bodyPr wrap="square">
            <a:spAutoFit/>
          </a:bodyPr>
          <a:lstStyle/>
          <a:p>
            <a:pPr algn="ctr"/>
            <a:r>
              <a:rPr lang="en-US" sz="4000" b="1" dirty="0">
                <a:solidFill>
                  <a:prstClr val="white">
                    <a:lumMod val="95000"/>
                  </a:prstClr>
                </a:solidFill>
                <a:latin typeface="Calibri" panose="020F0502020204030204"/>
              </a:rPr>
              <a:t>Concluding </a:t>
            </a:r>
            <a:r>
              <a:rPr lang="en-US" sz="4400" b="1" dirty="0">
                <a:solidFill>
                  <a:prstClr val="white">
                    <a:lumMod val="95000"/>
                  </a:prstClr>
                </a:solidFill>
                <a:latin typeface="Calibri" panose="020F0502020204030204"/>
              </a:rPr>
              <a:t>Remarks</a:t>
            </a:r>
            <a:r>
              <a:rPr lang="en-US" sz="4000" b="1" dirty="0">
                <a:solidFill>
                  <a:prstClr val="white">
                    <a:lumMod val="95000"/>
                  </a:prstClr>
                </a:solidFill>
                <a:latin typeface="Calibri" panose="020F0502020204030204"/>
              </a:rPr>
              <a:t> </a:t>
            </a:r>
          </a:p>
        </p:txBody>
      </p:sp>
      <p:cxnSp>
        <p:nvCxnSpPr>
          <p:cNvPr id="9" name="Straight Connector 8">
            <a:extLst>
              <a:ext uri="{FF2B5EF4-FFF2-40B4-BE49-F238E27FC236}">
                <a16:creationId xmlns:a16="http://schemas.microsoft.com/office/drawing/2014/main" id="{024DABA1-55A5-4940-9683-FAAAFF1CC315}"/>
              </a:ext>
            </a:extLst>
          </p:cNvPr>
          <p:cNvCxnSpPr>
            <a:cxnSpLocks/>
          </p:cNvCxnSpPr>
          <p:nvPr/>
        </p:nvCxnSpPr>
        <p:spPr>
          <a:xfrm>
            <a:off x="1861327" y="1622816"/>
            <a:ext cx="4894363" cy="0"/>
          </a:xfrm>
          <a:prstGeom prst="line">
            <a:avLst/>
          </a:prstGeom>
          <a:ln w="28575">
            <a:solidFill>
              <a:srgbClr val="C3B69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9228444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8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endParaRPr lang="nl-NL" sz="3400" dirty="0">
              <a:latin typeface="Garamond" panose="02020404030301010803" pitchFamily="18" charset="0"/>
            </a:endParaRPr>
          </a:p>
          <a:p>
            <a:pPr algn="ctr">
              <a:spcAft>
                <a:spcPts val="1800"/>
              </a:spcAft>
            </a:pPr>
            <a:r>
              <a:rPr lang="nl-NL" sz="3400" b="1" dirty="0">
                <a:solidFill>
                  <a:srgbClr val="820000"/>
                </a:solidFill>
                <a:latin typeface="Garamond" panose="02020404030301010803" pitchFamily="18" charset="0"/>
              </a:rPr>
              <a:t>Pauline </a:t>
            </a:r>
            <a:r>
              <a:rPr lang="nl-NL" sz="3400" b="1" dirty="0" err="1">
                <a:solidFill>
                  <a:srgbClr val="820000"/>
                </a:solidFill>
                <a:latin typeface="Garamond" panose="02020404030301010803" pitchFamily="18" charset="0"/>
              </a:rPr>
              <a:t>Tay</a:t>
            </a:r>
            <a:r>
              <a:rPr lang="nl-NL" sz="3400" b="1" dirty="0">
                <a:solidFill>
                  <a:srgbClr val="820000"/>
                </a:solidFill>
                <a:latin typeface="Garamond" panose="02020404030301010803" pitchFamily="18" charset="0"/>
              </a:rPr>
              <a:t>     </a:t>
            </a:r>
          </a:p>
          <a:p>
            <a:pPr algn="ctr">
              <a:lnSpc>
                <a:spcPct val="134000"/>
              </a:lnSpc>
              <a:spcAft>
                <a:spcPts val="600"/>
              </a:spcAft>
            </a:pPr>
            <a:r>
              <a:rPr lang="en-AU" sz="2500" i="1" dirty="0">
                <a:latin typeface="Garamond" panose="02020404030301010803" pitchFamily="18" charset="0"/>
              </a:rPr>
              <a:t>Deputy Director Innovation and Enterprise/Strategy, National Research Foundation, Singapore </a:t>
            </a:r>
          </a:p>
          <a:p>
            <a:pPr algn="ctr">
              <a:lnSpc>
                <a:spcPct val="134000"/>
              </a:lnSpc>
              <a:spcAft>
                <a:spcPts val="600"/>
              </a:spcAft>
            </a:pPr>
            <a:r>
              <a:rPr lang="en-AU" sz="2500" i="1" dirty="0">
                <a:latin typeface="Garamond" panose="02020404030301010803" pitchFamily="18" charset="0"/>
              </a:rPr>
              <a:t> </a:t>
            </a:r>
          </a:p>
          <a:p>
            <a:pPr algn="ctr">
              <a:lnSpc>
                <a:spcPct val="134000"/>
              </a:lnSpc>
              <a:spcAft>
                <a:spcPts val="600"/>
              </a:spcAft>
            </a:pPr>
            <a:br>
              <a:rPr lang="nl-NL" sz="3600" dirty="0">
                <a:latin typeface="Garamond" panose="02020404030301010803" pitchFamily="18" charset="0"/>
              </a:rPr>
            </a:br>
            <a:endParaRPr lang="nl-NL" sz="3600" dirty="0">
              <a:latin typeface="Garamond" panose="02020404030301010803" pitchFamily="18" charset="0"/>
            </a:endParaRPr>
          </a:p>
        </p:txBody>
      </p:sp>
      <p:sp>
        <p:nvSpPr>
          <p:cNvPr id="13" name="Tekstvak 14">
            <a:extLst>
              <a:ext uri="{FF2B5EF4-FFF2-40B4-BE49-F238E27FC236}">
                <a16:creationId xmlns:a16="http://schemas.microsoft.com/office/drawing/2014/main" id="{74A62895-764F-49FF-9F34-65DE46DAA367}"/>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1" name="Tekstvak 5">
            <a:extLst>
              <a:ext uri="{FF2B5EF4-FFF2-40B4-BE49-F238E27FC236}">
                <a16:creationId xmlns:a16="http://schemas.microsoft.com/office/drawing/2014/main" id="{92A72207-1788-41FD-B3EC-A6DA58DCD3E9}"/>
              </a:ext>
            </a:extLst>
          </p:cNvPr>
          <p:cNvSpPr txBox="1">
            <a:spLocks/>
          </p:cNvSpPr>
          <p:nvPr/>
        </p:nvSpPr>
        <p:spPr>
          <a:xfrm>
            <a:off x="4428309" y="-19281"/>
            <a:ext cx="7670800" cy="769441"/>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p:txBody>
      </p:sp>
    </p:spTree>
    <p:extLst>
      <p:ext uri="{BB962C8B-B14F-4D97-AF65-F5344CB8AC3E}">
        <p14:creationId xmlns:p14="http://schemas.microsoft.com/office/powerpoint/2010/main" val="37538061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639823"/>
            <a:ext cx="5218176" cy="5218175"/>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3" name="object 3"/>
          <p:cNvGrpSpPr/>
          <p:nvPr/>
        </p:nvGrpSpPr>
        <p:grpSpPr>
          <a:xfrm>
            <a:off x="688848" y="0"/>
            <a:ext cx="11503660" cy="6858000"/>
            <a:chOff x="688848" y="0"/>
            <a:chExt cx="11503660" cy="6858000"/>
          </a:xfrm>
        </p:grpSpPr>
        <p:sp>
          <p:nvSpPr>
            <p:cNvPr id="4" name="object 4"/>
            <p:cNvSpPr/>
            <p:nvPr/>
          </p:nvSpPr>
          <p:spPr>
            <a:xfrm>
              <a:off x="6382512" y="0"/>
              <a:ext cx="4322826" cy="4319778"/>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6117336" y="1228342"/>
              <a:ext cx="5508498" cy="5508498"/>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688848" y="0"/>
              <a:ext cx="11503152" cy="6858000"/>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txBox="1">
            <a:spLocks noGrp="1"/>
          </p:cNvSpPr>
          <p:nvPr>
            <p:ph type="title"/>
          </p:nvPr>
        </p:nvSpPr>
        <p:spPr>
          <a:xfrm>
            <a:off x="8057515" y="858088"/>
            <a:ext cx="3603625" cy="391795"/>
          </a:xfrm>
          <a:prstGeom prst="rect">
            <a:avLst/>
          </a:prstGeom>
        </p:spPr>
        <p:txBody>
          <a:bodyPr vert="horz" wrap="square" lIns="0" tIns="12700" rIns="0" bIns="0" rtlCol="0">
            <a:spAutoFit/>
          </a:bodyPr>
          <a:lstStyle/>
          <a:p>
            <a:pPr marL="12700">
              <a:lnSpc>
                <a:spcPct val="100000"/>
              </a:lnSpc>
              <a:spcBef>
                <a:spcPts val="100"/>
              </a:spcBef>
            </a:pPr>
            <a:r>
              <a:rPr sz="2400" spc="-390" dirty="0"/>
              <a:t>I</a:t>
            </a:r>
            <a:r>
              <a:rPr sz="2400" spc="-540" dirty="0"/>
              <a:t> </a:t>
            </a:r>
            <a:r>
              <a:rPr sz="2400" spc="105" dirty="0"/>
              <a:t>M</a:t>
            </a:r>
            <a:r>
              <a:rPr sz="2400" spc="-530" dirty="0"/>
              <a:t> </a:t>
            </a:r>
            <a:r>
              <a:rPr sz="2400" spc="160" dirty="0"/>
              <a:t>PACT</a:t>
            </a:r>
            <a:r>
              <a:rPr sz="2400" spc="215" dirty="0"/>
              <a:t> </a:t>
            </a:r>
            <a:r>
              <a:rPr sz="2400" spc="210" dirty="0"/>
              <a:t>OF</a:t>
            </a:r>
            <a:r>
              <a:rPr sz="2400" spc="305" dirty="0"/>
              <a:t> </a:t>
            </a:r>
            <a:r>
              <a:rPr sz="2400" spc="-290" dirty="0"/>
              <a:t>S</a:t>
            </a:r>
            <a:r>
              <a:rPr sz="2400" spc="-550" dirty="0"/>
              <a:t> </a:t>
            </a:r>
            <a:r>
              <a:rPr sz="2400" spc="50" dirty="0"/>
              <a:t>C</a:t>
            </a:r>
            <a:r>
              <a:rPr sz="2400" spc="-540" dirty="0"/>
              <a:t> </a:t>
            </a:r>
            <a:r>
              <a:rPr sz="2400" spc="-390" dirty="0"/>
              <a:t>I</a:t>
            </a:r>
            <a:r>
              <a:rPr sz="2400" spc="-540" dirty="0"/>
              <a:t> </a:t>
            </a:r>
            <a:r>
              <a:rPr sz="2400" spc="-100" dirty="0"/>
              <a:t>E</a:t>
            </a:r>
            <a:r>
              <a:rPr sz="2400" spc="-545" dirty="0"/>
              <a:t> </a:t>
            </a:r>
            <a:r>
              <a:rPr sz="2400" spc="195" dirty="0"/>
              <a:t>NC</a:t>
            </a:r>
            <a:r>
              <a:rPr sz="2400" spc="-540" dirty="0"/>
              <a:t> </a:t>
            </a:r>
            <a:r>
              <a:rPr sz="2400" spc="-100" dirty="0"/>
              <a:t>E</a:t>
            </a:r>
            <a:endParaRPr sz="2400"/>
          </a:p>
        </p:txBody>
      </p:sp>
      <p:sp>
        <p:nvSpPr>
          <p:cNvPr id="9" name="object 9"/>
          <p:cNvSpPr txBox="1"/>
          <p:nvPr/>
        </p:nvSpPr>
        <p:spPr>
          <a:xfrm>
            <a:off x="8258936" y="1187958"/>
            <a:ext cx="3398520" cy="39116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2400" b="0" i="0" u="none" strike="noStrike" kern="1200" cap="none" spc="270" normalizeH="0" baseline="0" noProof="0" dirty="0">
                <a:ln>
                  <a:noFill/>
                </a:ln>
                <a:solidFill>
                  <a:srgbClr val="FFFFFF"/>
                </a:solidFill>
                <a:effectLst/>
                <a:uLnTx/>
                <a:uFillTx/>
                <a:latin typeface="Verdana"/>
                <a:ea typeface="+mn-ea"/>
                <a:cs typeface="Verdana"/>
              </a:rPr>
              <a:t>CONF</a:t>
            </a:r>
            <a:r>
              <a:rPr kumimoji="0" sz="2400" b="0" i="0" u="none" strike="noStrike" kern="1200" cap="none" spc="-545" normalizeH="0" baseline="0" noProof="0" dirty="0">
                <a:ln>
                  <a:noFill/>
                </a:ln>
                <a:solidFill>
                  <a:srgbClr val="FFFFFF"/>
                </a:solidFill>
                <a:effectLst/>
                <a:uLnTx/>
                <a:uFillTx/>
                <a:latin typeface="Verdana"/>
                <a:ea typeface="+mn-ea"/>
                <a:cs typeface="Verdana"/>
              </a:rPr>
              <a:t> </a:t>
            </a:r>
            <a:r>
              <a:rPr kumimoji="0" sz="2400" b="0" i="0" u="none" strike="noStrike" kern="1200" cap="none" spc="-100" normalizeH="0" baseline="0" noProof="0" dirty="0">
                <a:ln>
                  <a:noFill/>
                </a:ln>
                <a:solidFill>
                  <a:srgbClr val="FFFFFF"/>
                </a:solidFill>
                <a:effectLst/>
                <a:uLnTx/>
                <a:uFillTx/>
                <a:latin typeface="Verdana"/>
                <a:ea typeface="+mn-ea"/>
                <a:cs typeface="Verdana"/>
              </a:rPr>
              <a:t>E</a:t>
            </a:r>
            <a:r>
              <a:rPr kumimoji="0" sz="2400" b="0" i="0" u="none" strike="noStrike" kern="1200" cap="none" spc="-545" normalizeH="0" baseline="0" noProof="0" dirty="0">
                <a:ln>
                  <a:noFill/>
                </a:ln>
                <a:solidFill>
                  <a:srgbClr val="FFFFFF"/>
                </a:solidFill>
                <a:effectLst/>
                <a:uLnTx/>
                <a:uFillTx/>
                <a:latin typeface="Verdana"/>
                <a:ea typeface="+mn-ea"/>
                <a:cs typeface="Verdana"/>
              </a:rPr>
              <a:t> </a:t>
            </a:r>
            <a:r>
              <a:rPr kumimoji="0" sz="2400" b="0" i="0" u="none" strike="noStrike" kern="1200" cap="none" spc="-235" normalizeH="0" baseline="0" noProof="0" dirty="0">
                <a:ln>
                  <a:noFill/>
                </a:ln>
                <a:solidFill>
                  <a:srgbClr val="FFFFFF"/>
                </a:solidFill>
                <a:effectLst/>
                <a:uLnTx/>
                <a:uFillTx/>
                <a:latin typeface="Verdana"/>
                <a:ea typeface="+mn-ea"/>
                <a:cs typeface="Verdana"/>
              </a:rPr>
              <a:t>R</a:t>
            </a:r>
            <a:r>
              <a:rPr kumimoji="0" sz="2400" b="0" i="0" u="none" strike="noStrike" kern="1200" cap="none" spc="-540" normalizeH="0" baseline="0" noProof="0" dirty="0">
                <a:ln>
                  <a:noFill/>
                </a:ln>
                <a:solidFill>
                  <a:srgbClr val="FFFFFF"/>
                </a:solidFill>
                <a:effectLst/>
                <a:uLnTx/>
                <a:uFillTx/>
                <a:latin typeface="Verdana"/>
                <a:ea typeface="+mn-ea"/>
                <a:cs typeface="Verdana"/>
              </a:rPr>
              <a:t> </a:t>
            </a:r>
            <a:r>
              <a:rPr kumimoji="0" sz="2400" b="0" i="0" u="none" strike="noStrike" kern="1200" cap="none" spc="-100" normalizeH="0" baseline="0" noProof="0" dirty="0">
                <a:ln>
                  <a:noFill/>
                </a:ln>
                <a:solidFill>
                  <a:srgbClr val="FFFFFF"/>
                </a:solidFill>
                <a:effectLst/>
                <a:uLnTx/>
                <a:uFillTx/>
                <a:latin typeface="Verdana"/>
                <a:ea typeface="+mn-ea"/>
                <a:cs typeface="Verdana"/>
              </a:rPr>
              <a:t>E</a:t>
            </a:r>
            <a:r>
              <a:rPr kumimoji="0" sz="2400" b="0" i="0" u="none" strike="noStrike" kern="1200" cap="none" spc="-545" normalizeH="0" baseline="0" noProof="0" dirty="0">
                <a:ln>
                  <a:noFill/>
                </a:ln>
                <a:solidFill>
                  <a:srgbClr val="FFFFFF"/>
                </a:solidFill>
                <a:effectLst/>
                <a:uLnTx/>
                <a:uFillTx/>
                <a:latin typeface="Verdana"/>
                <a:ea typeface="+mn-ea"/>
                <a:cs typeface="Verdana"/>
              </a:rPr>
              <a:t> </a:t>
            </a:r>
            <a:r>
              <a:rPr kumimoji="0" sz="2400" b="0" i="0" u="none" strike="noStrike" kern="1200" cap="none" spc="190" normalizeH="0" baseline="0" noProof="0" dirty="0">
                <a:ln>
                  <a:noFill/>
                </a:ln>
                <a:solidFill>
                  <a:srgbClr val="FFFFFF"/>
                </a:solidFill>
                <a:effectLst/>
                <a:uLnTx/>
                <a:uFillTx/>
                <a:latin typeface="Verdana"/>
                <a:ea typeface="+mn-ea"/>
                <a:cs typeface="Verdana"/>
              </a:rPr>
              <a:t>NC</a:t>
            </a:r>
            <a:r>
              <a:rPr kumimoji="0" sz="2400" b="0" i="0" u="none" strike="noStrike" kern="1200" cap="none" spc="-540" normalizeH="0" baseline="0" noProof="0" dirty="0">
                <a:ln>
                  <a:noFill/>
                </a:ln>
                <a:solidFill>
                  <a:srgbClr val="FFFFFF"/>
                </a:solidFill>
                <a:effectLst/>
                <a:uLnTx/>
                <a:uFillTx/>
                <a:latin typeface="Verdana"/>
                <a:ea typeface="+mn-ea"/>
                <a:cs typeface="Verdana"/>
              </a:rPr>
              <a:t> </a:t>
            </a:r>
            <a:r>
              <a:rPr kumimoji="0" sz="2400" b="0" i="0" u="none" strike="noStrike" kern="1200" cap="none" spc="-100" normalizeH="0" baseline="0" noProof="0" dirty="0">
                <a:ln>
                  <a:noFill/>
                </a:ln>
                <a:solidFill>
                  <a:srgbClr val="FFFFFF"/>
                </a:solidFill>
                <a:effectLst/>
                <a:uLnTx/>
                <a:uFillTx/>
                <a:latin typeface="Verdana"/>
                <a:ea typeface="+mn-ea"/>
                <a:cs typeface="Verdana"/>
              </a:rPr>
              <a:t>E</a:t>
            </a:r>
            <a:r>
              <a:rPr kumimoji="0" sz="2400" b="0" i="0" u="none" strike="noStrike" kern="1200" cap="none" spc="254" normalizeH="0" baseline="0" noProof="0" dirty="0">
                <a:ln>
                  <a:noFill/>
                </a:ln>
                <a:solidFill>
                  <a:srgbClr val="FFFFFF"/>
                </a:solidFill>
                <a:effectLst/>
                <a:uLnTx/>
                <a:uFillTx/>
                <a:latin typeface="Verdana"/>
                <a:ea typeface="+mn-ea"/>
                <a:cs typeface="Verdana"/>
              </a:rPr>
              <a:t> </a:t>
            </a:r>
            <a:r>
              <a:rPr kumimoji="0" sz="2400" b="0" i="0" u="none" strike="noStrike" kern="1200" cap="none" spc="-135" normalizeH="0" baseline="0" noProof="0" dirty="0">
                <a:ln>
                  <a:noFill/>
                </a:ln>
                <a:solidFill>
                  <a:srgbClr val="FFFFFF"/>
                </a:solidFill>
                <a:effectLst/>
                <a:uLnTx/>
                <a:uFillTx/>
                <a:latin typeface="Verdana"/>
                <a:ea typeface="+mn-ea"/>
                <a:cs typeface="Verdana"/>
              </a:rPr>
              <a:t>2</a:t>
            </a:r>
            <a:r>
              <a:rPr kumimoji="0" sz="2400" b="0" i="0" u="none" strike="noStrike" kern="1200" cap="none" spc="-540" normalizeH="0" baseline="0" noProof="0" dirty="0">
                <a:ln>
                  <a:noFill/>
                </a:ln>
                <a:solidFill>
                  <a:srgbClr val="FFFFFF"/>
                </a:solidFill>
                <a:effectLst/>
                <a:uLnTx/>
                <a:uFillTx/>
                <a:latin typeface="Verdana"/>
                <a:ea typeface="+mn-ea"/>
                <a:cs typeface="Verdana"/>
              </a:rPr>
              <a:t> </a:t>
            </a:r>
            <a:r>
              <a:rPr kumimoji="0" sz="2400" b="0" i="0" u="none" strike="noStrike" kern="1200" cap="none" spc="-135" normalizeH="0" baseline="0" noProof="0" dirty="0">
                <a:ln>
                  <a:noFill/>
                </a:ln>
                <a:solidFill>
                  <a:srgbClr val="FFFFFF"/>
                </a:solidFill>
                <a:effectLst/>
                <a:uLnTx/>
                <a:uFillTx/>
                <a:latin typeface="Verdana"/>
                <a:ea typeface="+mn-ea"/>
                <a:cs typeface="Verdana"/>
              </a:rPr>
              <a:t>0</a:t>
            </a:r>
            <a:r>
              <a:rPr kumimoji="0" sz="2400" b="0" i="0" u="none" strike="noStrike" kern="1200" cap="none" spc="-540" normalizeH="0" baseline="0" noProof="0" dirty="0">
                <a:ln>
                  <a:noFill/>
                </a:ln>
                <a:solidFill>
                  <a:srgbClr val="FFFFFF"/>
                </a:solidFill>
                <a:effectLst/>
                <a:uLnTx/>
                <a:uFillTx/>
                <a:latin typeface="Verdana"/>
                <a:ea typeface="+mn-ea"/>
                <a:cs typeface="Verdana"/>
              </a:rPr>
              <a:t> </a:t>
            </a:r>
            <a:r>
              <a:rPr kumimoji="0" sz="2400" b="0" i="0" u="none" strike="noStrike" kern="1200" cap="none" spc="-135" normalizeH="0" baseline="0" noProof="0" dirty="0">
                <a:ln>
                  <a:noFill/>
                </a:ln>
                <a:solidFill>
                  <a:srgbClr val="FFFFFF"/>
                </a:solidFill>
                <a:effectLst/>
                <a:uLnTx/>
                <a:uFillTx/>
                <a:latin typeface="Verdana"/>
                <a:ea typeface="+mn-ea"/>
                <a:cs typeface="Verdana"/>
              </a:rPr>
              <a:t>2</a:t>
            </a:r>
            <a:r>
              <a:rPr kumimoji="0" sz="2400" b="0" i="0" u="none" strike="noStrike" kern="1200" cap="none" spc="-540" normalizeH="0" baseline="0" noProof="0" dirty="0">
                <a:ln>
                  <a:noFill/>
                </a:ln>
                <a:solidFill>
                  <a:srgbClr val="FFFFFF"/>
                </a:solidFill>
                <a:effectLst/>
                <a:uLnTx/>
                <a:uFillTx/>
                <a:latin typeface="Verdana"/>
                <a:ea typeface="+mn-ea"/>
                <a:cs typeface="Verdana"/>
              </a:rPr>
              <a:t> </a:t>
            </a:r>
            <a:r>
              <a:rPr kumimoji="0" sz="2400" b="0" i="0" u="none" strike="noStrike" kern="1200" cap="none" spc="-135" normalizeH="0" baseline="0" noProof="0" dirty="0">
                <a:ln>
                  <a:noFill/>
                </a:ln>
                <a:solidFill>
                  <a:srgbClr val="FFFFFF"/>
                </a:solidFill>
                <a:effectLst/>
                <a:uLnTx/>
                <a:uFillTx/>
                <a:latin typeface="Verdana"/>
                <a:ea typeface="+mn-ea"/>
                <a:cs typeface="Verdana"/>
              </a:rPr>
              <a:t>1</a:t>
            </a:r>
            <a:endParaRPr kumimoji="0" sz="2400" b="0" i="0" u="none" strike="noStrike" kern="1200" cap="none" spc="0" normalizeH="0" baseline="0" noProof="0">
              <a:ln>
                <a:noFill/>
              </a:ln>
              <a:solidFill>
                <a:prstClr val="black"/>
              </a:solidFill>
              <a:effectLst/>
              <a:uLnTx/>
              <a:uFillTx/>
              <a:latin typeface="Verdana"/>
              <a:ea typeface="+mn-ea"/>
              <a:cs typeface="Verdana"/>
            </a:endParaRPr>
          </a:p>
        </p:txBody>
      </p:sp>
      <p:sp>
        <p:nvSpPr>
          <p:cNvPr id="10" name="object 10"/>
          <p:cNvSpPr txBox="1"/>
          <p:nvPr/>
        </p:nvSpPr>
        <p:spPr>
          <a:xfrm>
            <a:off x="8044433" y="1431747"/>
            <a:ext cx="3761104" cy="2407285"/>
          </a:xfrm>
          <a:prstGeom prst="rect">
            <a:avLst/>
          </a:prstGeom>
        </p:spPr>
        <p:txBody>
          <a:bodyPr vert="horz" wrap="square" lIns="0" tIns="12700" rIns="0" bIns="0" rtlCol="0">
            <a:spAutoFit/>
          </a:bodyPr>
          <a:lstStyle/>
          <a:p>
            <a:pPr marL="1245235" marR="0" lvl="0" indent="0" algn="l" defTabSz="914400" rtl="0" eaLnBrk="1" fontAlgn="auto" latinLnBrk="0" hangingPunct="1">
              <a:lnSpc>
                <a:spcPct val="100000"/>
              </a:lnSpc>
              <a:spcBef>
                <a:spcPts val="100"/>
              </a:spcBef>
              <a:spcAft>
                <a:spcPts val="0"/>
              </a:spcAft>
              <a:buClrTx/>
              <a:buSzTx/>
              <a:buFontTx/>
              <a:buNone/>
              <a:tabLst/>
              <a:defRPr/>
            </a:pPr>
            <a:r>
              <a:rPr kumimoji="0" sz="6000" b="1" i="0" u="none" strike="noStrike" kern="1200" cap="none" spc="114" normalizeH="0" baseline="0" noProof="0" dirty="0">
                <a:ln>
                  <a:noFill/>
                </a:ln>
                <a:solidFill>
                  <a:srgbClr val="FFFFFF"/>
                </a:solidFill>
                <a:effectLst/>
                <a:uLnTx/>
                <a:uFillTx/>
                <a:latin typeface="Arial"/>
                <a:ea typeface="+mn-ea"/>
                <a:cs typeface="Arial"/>
              </a:rPr>
              <a:t>AESIS</a:t>
            </a:r>
            <a:endParaRPr kumimoji="0" sz="6000" b="0" i="0" u="none" strike="noStrike" kern="1200" cap="none" spc="0" normalizeH="0" baseline="0" noProof="0">
              <a:ln>
                <a:noFill/>
              </a:ln>
              <a:solidFill>
                <a:prstClr val="black"/>
              </a:solidFill>
              <a:effectLst/>
              <a:uLnTx/>
              <a:uFillTx/>
              <a:latin typeface="Arial"/>
              <a:ea typeface="+mn-ea"/>
              <a:cs typeface="Arial"/>
            </a:endParaRPr>
          </a:p>
          <a:p>
            <a:pPr marL="0" marR="8255" lvl="0" indent="0" algn="r" defTabSz="914400" rtl="0" eaLnBrk="1" fontAlgn="auto" latinLnBrk="0" hangingPunct="1">
              <a:lnSpc>
                <a:spcPct val="100000"/>
              </a:lnSpc>
              <a:spcBef>
                <a:spcPts val="6680"/>
              </a:spcBef>
              <a:spcAft>
                <a:spcPts val="0"/>
              </a:spcAft>
              <a:buClrTx/>
              <a:buSzTx/>
              <a:buFontTx/>
              <a:buNone/>
              <a:tabLst/>
              <a:defRPr/>
            </a:pPr>
            <a:r>
              <a:rPr kumimoji="0" sz="1800" b="1" i="0" u="none" strike="noStrike" kern="1200" cap="none" spc="70" normalizeH="0" baseline="0" noProof="0" dirty="0">
                <a:ln>
                  <a:noFill/>
                </a:ln>
                <a:solidFill>
                  <a:srgbClr val="00B9C7"/>
                </a:solidFill>
                <a:effectLst/>
                <a:uLnTx/>
                <a:uFillTx/>
                <a:latin typeface="Arial"/>
                <a:ea typeface="+mn-ea"/>
                <a:cs typeface="Arial"/>
              </a:rPr>
              <a:t>I</a:t>
            </a:r>
            <a:r>
              <a:rPr kumimoji="0" sz="1800" b="1" i="0" u="none" strike="noStrike" kern="1200" cap="none" spc="-195" normalizeH="0" baseline="0" noProof="0" dirty="0">
                <a:ln>
                  <a:noFill/>
                </a:ln>
                <a:solidFill>
                  <a:srgbClr val="00B9C7"/>
                </a:solidFill>
                <a:effectLst/>
                <a:uLnTx/>
                <a:uFillTx/>
                <a:latin typeface="Arial"/>
                <a:ea typeface="+mn-ea"/>
                <a:cs typeface="Arial"/>
              </a:rPr>
              <a:t> </a:t>
            </a:r>
            <a:r>
              <a:rPr kumimoji="0" sz="1800" b="1" i="0" u="none" strike="noStrike" kern="1200" cap="none" spc="220" normalizeH="0" baseline="0" noProof="0" dirty="0">
                <a:ln>
                  <a:noFill/>
                </a:ln>
                <a:solidFill>
                  <a:srgbClr val="00B9C7"/>
                </a:solidFill>
                <a:effectLst/>
                <a:uLnTx/>
                <a:uFillTx/>
                <a:latin typeface="Arial"/>
                <a:ea typeface="+mn-ea"/>
                <a:cs typeface="Arial"/>
              </a:rPr>
              <a:t>M</a:t>
            </a:r>
            <a:r>
              <a:rPr kumimoji="0" sz="1800" b="1" i="0" u="none" strike="noStrike" kern="1200" cap="none" spc="-185" normalizeH="0" baseline="0" noProof="0" dirty="0">
                <a:ln>
                  <a:noFill/>
                </a:ln>
                <a:solidFill>
                  <a:srgbClr val="00B9C7"/>
                </a:solidFill>
                <a:effectLst/>
                <a:uLnTx/>
                <a:uFillTx/>
                <a:latin typeface="Arial"/>
                <a:ea typeface="+mn-ea"/>
                <a:cs typeface="Arial"/>
              </a:rPr>
              <a:t> </a:t>
            </a:r>
            <a:r>
              <a:rPr kumimoji="0" sz="1800" b="1" i="0" u="none" strike="noStrike" kern="1200" cap="none" spc="75" normalizeH="0" baseline="0" noProof="0" dirty="0">
                <a:ln>
                  <a:noFill/>
                </a:ln>
                <a:solidFill>
                  <a:srgbClr val="00B9C7"/>
                </a:solidFill>
                <a:effectLst/>
                <a:uLnTx/>
                <a:uFillTx/>
                <a:latin typeface="Arial"/>
                <a:ea typeface="+mn-ea"/>
                <a:cs typeface="Arial"/>
              </a:rPr>
              <a:t>PA</a:t>
            </a:r>
            <a:r>
              <a:rPr kumimoji="0" sz="1800" b="1" i="0" u="none" strike="noStrike" kern="1200" cap="none" spc="-215" normalizeH="0" baseline="0" noProof="0" dirty="0">
                <a:ln>
                  <a:noFill/>
                </a:ln>
                <a:solidFill>
                  <a:srgbClr val="00B9C7"/>
                </a:solidFill>
                <a:effectLst/>
                <a:uLnTx/>
                <a:uFillTx/>
                <a:latin typeface="Arial"/>
                <a:ea typeface="+mn-ea"/>
                <a:cs typeface="Arial"/>
              </a:rPr>
              <a:t> </a:t>
            </a:r>
            <a:r>
              <a:rPr kumimoji="0" sz="1800" b="1" i="0" u="none" strike="noStrike" kern="1200" cap="none" spc="-50" normalizeH="0" baseline="0" noProof="0" dirty="0">
                <a:ln>
                  <a:noFill/>
                </a:ln>
                <a:solidFill>
                  <a:srgbClr val="00B9C7"/>
                </a:solidFill>
                <a:effectLst/>
                <a:uLnTx/>
                <a:uFillTx/>
                <a:latin typeface="Arial"/>
                <a:ea typeface="+mn-ea"/>
                <a:cs typeface="Arial"/>
              </a:rPr>
              <a:t>C</a:t>
            </a:r>
            <a:r>
              <a:rPr kumimoji="0" sz="1800" b="1" i="0" u="none" strike="noStrike" kern="1200" cap="none" spc="-200" normalizeH="0" baseline="0" noProof="0" dirty="0">
                <a:ln>
                  <a:noFill/>
                </a:ln>
                <a:solidFill>
                  <a:srgbClr val="00B9C7"/>
                </a:solidFill>
                <a:effectLst/>
                <a:uLnTx/>
                <a:uFillTx/>
                <a:latin typeface="Arial"/>
                <a:ea typeface="+mn-ea"/>
                <a:cs typeface="Arial"/>
              </a:rPr>
              <a:t> </a:t>
            </a:r>
            <a:r>
              <a:rPr kumimoji="0" sz="1800" b="1" i="0" u="none" strike="noStrike" kern="1200" cap="none" spc="-55" normalizeH="0" baseline="0" noProof="0" dirty="0">
                <a:ln>
                  <a:noFill/>
                </a:ln>
                <a:solidFill>
                  <a:srgbClr val="00B9C7"/>
                </a:solidFill>
                <a:effectLst/>
                <a:uLnTx/>
                <a:uFillTx/>
                <a:latin typeface="Arial"/>
                <a:ea typeface="+mn-ea"/>
                <a:cs typeface="Arial"/>
              </a:rPr>
              <a:t>T</a:t>
            </a:r>
            <a:r>
              <a:rPr kumimoji="0" sz="1800" b="1" i="0" u="none" strike="noStrike" kern="1200" cap="none" spc="385" normalizeH="0" baseline="0" noProof="0" dirty="0">
                <a:ln>
                  <a:noFill/>
                </a:ln>
                <a:solidFill>
                  <a:srgbClr val="00B9C7"/>
                </a:solidFill>
                <a:effectLst/>
                <a:uLnTx/>
                <a:uFillTx/>
                <a:latin typeface="Arial"/>
                <a:ea typeface="+mn-ea"/>
                <a:cs typeface="Arial"/>
              </a:rPr>
              <a:t> </a:t>
            </a:r>
            <a:r>
              <a:rPr kumimoji="0" sz="1800" b="1" i="0" u="none" strike="noStrike" kern="1200" cap="none" spc="10" normalizeH="0" baseline="0" noProof="0" dirty="0">
                <a:ln>
                  <a:noFill/>
                </a:ln>
                <a:solidFill>
                  <a:srgbClr val="00B9C7"/>
                </a:solidFill>
                <a:effectLst/>
                <a:uLnTx/>
                <a:uFillTx/>
                <a:latin typeface="Arial"/>
                <a:ea typeface="+mn-ea"/>
                <a:cs typeface="Arial"/>
              </a:rPr>
              <a:t>A</a:t>
            </a:r>
            <a:r>
              <a:rPr kumimoji="0" sz="1800" b="1" i="0" u="none" strike="noStrike" kern="1200" cap="none" spc="-190" normalizeH="0" baseline="0" noProof="0" dirty="0">
                <a:ln>
                  <a:noFill/>
                </a:ln>
                <a:solidFill>
                  <a:srgbClr val="00B9C7"/>
                </a:solidFill>
                <a:effectLst/>
                <a:uLnTx/>
                <a:uFillTx/>
                <a:latin typeface="Arial"/>
                <a:ea typeface="+mn-ea"/>
                <a:cs typeface="Arial"/>
              </a:rPr>
              <a:t> </a:t>
            </a:r>
            <a:r>
              <a:rPr kumimoji="0" sz="1800" b="1" i="0" u="none" strike="noStrike" kern="1200" cap="none" spc="-140" normalizeH="0" baseline="0" noProof="0" dirty="0">
                <a:ln>
                  <a:noFill/>
                </a:ln>
                <a:solidFill>
                  <a:srgbClr val="00B9C7"/>
                </a:solidFill>
                <a:effectLst/>
                <a:uLnTx/>
                <a:uFillTx/>
                <a:latin typeface="Arial"/>
                <a:ea typeface="+mn-ea"/>
                <a:cs typeface="Arial"/>
              </a:rPr>
              <a:t>S</a:t>
            </a:r>
            <a:r>
              <a:rPr kumimoji="0" sz="1800" b="1" i="0" u="none" strike="noStrike" kern="1200" cap="none" spc="-200" normalizeH="0" baseline="0" noProof="0" dirty="0">
                <a:ln>
                  <a:noFill/>
                </a:ln>
                <a:solidFill>
                  <a:srgbClr val="00B9C7"/>
                </a:solidFill>
                <a:effectLst/>
                <a:uLnTx/>
                <a:uFillTx/>
                <a:latin typeface="Arial"/>
                <a:ea typeface="+mn-ea"/>
                <a:cs typeface="Arial"/>
              </a:rPr>
              <a:t> </a:t>
            </a:r>
            <a:r>
              <a:rPr kumimoji="0" sz="1800" b="1" i="0" u="none" strike="noStrike" kern="1200" cap="none" spc="-140" normalizeH="0" baseline="0" noProof="0" dirty="0">
                <a:ln>
                  <a:noFill/>
                </a:ln>
                <a:solidFill>
                  <a:srgbClr val="00B9C7"/>
                </a:solidFill>
                <a:effectLst/>
                <a:uLnTx/>
                <a:uFillTx/>
                <a:latin typeface="Arial"/>
                <a:ea typeface="+mn-ea"/>
                <a:cs typeface="Arial"/>
              </a:rPr>
              <a:t>S</a:t>
            </a:r>
            <a:r>
              <a:rPr kumimoji="0" sz="1800" b="1" i="0" u="none" strike="noStrike" kern="1200" cap="none" spc="-200" normalizeH="0" baseline="0" noProof="0" dirty="0">
                <a:ln>
                  <a:noFill/>
                </a:ln>
                <a:solidFill>
                  <a:srgbClr val="00B9C7"/>
                </a:solidFill>
                <a:effectLst/>
                <a:uLnTx/>
                <a:uFillTx/>
                <a:latin typeface="Arial"/>
                <a:ea typeface="+mn-ea"/>
                <a:cs typeface="Arial"/>
              </a:rPr>
              <a:t> </a:t>
            </a:r>
            <a:r>
              <a:rPr kumimoji="0" sz="1800" b="1" i="0" u="none" strike="noStrike" kern="1200" cap="none" spc="-110" normalizeH="0" baseline="0" noProof="0" dirty="0">
                <a:ln>
                  <a:noFill/>
                </a:ln>
                <a:solidFill>
                  <a:srgbClr val="00B9C7"/>
                </a:solidFill>
                <a:effectLst/>
                <a:uLnTx/>
                <a:uFillTx/>
                <a:latin typeface="Arial"/>
                <a:ea typeface="+mn-ea"/>
                <a:cs typeface="Arial"/>
              </a:rPr>
              <a:t>E</a:t>
            </a:r>
            <a:r>
              <a:rPr kumimoji="0" sz="1800" b="1" i="0" u="none" strike="noStrike" kern="1200" cap="none" spc="-185" normalizeH="0" baseline="0" noProof="0" dirty="0">
                <a:ln>
                  <a:noFill/>
                </a:ln>
                <a:solidFill>
                  <a:srgbClr val="00B9C7"/>
                </a:solidFill>
                <a:effectLst/>
                <a:uLnTx/>
                <a:uFillTx/>
                <a:latin typeface="Arial"/>
                <a:ea typeface="+mn-ea"/>
                <a:cs typeface="Arial"/>
              </a:rPr>
              <a:t> </a:t>
            </a:r>
            <a:r>
              <a:rPr kumimoji="0" sz="1800" b="1" i="0" u="none" strike="noStrike" kern="1200" cap="none" spc="-140" normalizeH="0" baseline="0" noProof="0" dirty="0">
                <a:ln>
                  <a:noFill/>
                </a:ln>
                <a:solidFill>
                  <a:srgbClr val="00B9C7"/>
                </a:solidFill>
                <a:effectLst/>
                <a:uLnTx/>
                <a:uFillTx/>
                <a:latin typeface="Arial"/>
                <a:ea typeface="+mn-ea"/>
                <a:cs typeface="Arial"/>
              </a:rPr>
              <a:t>S</a:t>
            </a:r>
            <a:r>
              <a:rPr kumimoji="0" sz="1800" b="1" i="0" u="none" strike="noStrike" kern="1200" cap="none" spc="-200" normalizeH="0" baseline="0" noProof="0" dirty="0">
                <a:ln>
                  <a:noFill/>
                </a:ln>
                <a:solidFill>
                  <a:srgbClr val="00B9C7"/>
                </a:solidFill>
                <a:effectLst/>
                <a:uLnTx/>
                <a:uFillTx/>
                <a:latin typeface="Arial"/>
                <a:ea typeface="+mn-ea"/>
                <a:cs typeface="Arial"/>
              </a:rPr>
              <a:t> </a:t>
            </a:r>
            <a:r>
              <a:rPr kumimoji="0" sz="1800" b="1" i="0" u="none" strike="noStrike" kern="1200" cap="none" spc="-140" normalizeH="0" baseline="0" noProof="0" dirty="0">
                <a:ln>
                  <a:noFill/>
                </a:ln>
                <a:solidFill>
                  <a:srgbClr val="00B9C7"/>
                </a:solidFill>
                <a:effectLst/>
                <a:uLnTx/>
                <a:uFillTx/>
                <a:latin typeface="Arial"/>
                <a:ea typeface="+mn-ea"/>
                <a:cs typeface="Arial"/>
              </a:rPr>
              <a:t>S</a:t>
            </a:r>
            <a:r>
              <a:rPr kumimoji="0" sz="1800" b="1" i="0" u="none" strike="noStrike" kern="1200" cap="none" spc="-204" normalizeH="0" baseline="0" noProof="0" dirty="0">
                <a:ln>
                  <a:noFill/>
                </a:ln>
                <a:solidFill>
                  <a:srgbClr val="00B9C7"/>
                </a:solidFill>
                <a:effectLst/>
                <a:uLnTx/>
                <a:uFillTx/>
                <a:latin typeface="Arial"/>
                <a:ea typeface="+mn-ea"/>
                <a:cs typeface="Arial"/>
              </a:rPr>
              <a:t> </a:t>
            </a:r>
            <a:r>
              <a:rPr kumimoji="0" sz="1800" b="1" i="0" u="none" strike="noStrike" kern="1200" cap="none" spc="220" normalizeH="0" baseline="0" noProof="0" dirty="0">
                <a:ln>
                  <a:noFill/>
                </a:ln>
                <a:solidFill>
                  <a:srgbClr val="00B9C7"/>
                </a:solidFill>
                <a:effectLst/>
                <a:uLnTx/>
                <a:uFillTx/>
                <a:latin typeface="Arial"/>
                <a:ea typeface="+mn-ea"/>
                <a:cs typeface="Arial"/>
              </a:rPr>
              <a:t>M</a:t>
            </a:r>
            <a:r>
              <a:rPr kumimoji="0" sz="1800" b="1" i="0" u="none" strike="noStrike" kern="1200" cap="none" spc="-210" normalizeH="0" baseline="0" noProof="0" dirty="0">
                <a:ln>
                  <a:noFill/>
                </a:ln>
                <a:solidFill>
                  <a:srgbClr val="00B9C7"/>
                </a:solidFill>
                <a:effectLst/>
                <a:uLnTx/>
                <a:uFillTx/>
                <a:latin typeface="Arial"/>
                <a:ea typeface="+mn-ea"/>
                <a:cs typeface="Arial"/>
              </a:rPr>
              <a:t> </a:t>
            </a:r>
            <a:r>
              <a:rPr kumimoji="0" sz="1800" b="1" i="0" u="none" strike="noStrike" kern="1200" cap="none" spc="-110" normalizeH="0" baseline="0" noProof="0" dirty="0">
                <a:ln>
                  <a:noFill/>
                </a:ln>
                <a:solidFill>
                  <a:srgbClr val="00B9C7"/>
                </a:solidFill>
                <a:effectLst/>
                <a:uLnTx/>
                <a:uFillTx/>
                <a:latin typeface="Arial"/>
                <a:ea typeface="+mn-ea"/>
                <a:cs typeface="Arial"/>
              </a:rPr>
              <a:t>E</a:t>
            </a:r>
            <a:r>
              <a:rPr kumimoji="0" sz="1800" b="1" i="0" u="none" strike="noStrike" kern="1200" cap="none" spc="-204" normalizeH="0" baseline="0" noProof="0" dirty="0">
                <a:ln>
                  <a:noFill/>
                </a:ln>
                <a:solidFill>
                  <a:srgbClr val="00B9C7"/>
                </a:solidFill>
                <a:effectLst/>
                <a:uLnTx/>
                <a:uFillTx/>
                <a:latin typeface="Arial"/>
                <a:ea typeface="+mn-ea"/>
                <a:cs typeface="Arial"/>
              </a:rPr>
              <a:t> </a:t>
            </a:r>
            <a:r>
              <a:rPr kumimoji="0" sz="1800" b="1" i="0" u="none" strike="noStrike" kern="1200" cap="none" spc="120" normalizeH="0" baseline="0" noProof="0" dirty="0">
                <a:ln>
                  <a:noFill/>
                </a:ln>
                <a:solidFill>
                  <a:srgbClr val="00B9C7"/>
                </a:solidFill>
                <a:effectLst/>
                <a:uLnTx/>
                <a:uFillTx/>
                <a:latin typeface="Arial"/>
                <a:ea typeface="+mn-ea"/>
                <a:cs typeface="Arial"/>
              </a:rPr>
              <a:t>N</a:t>
            </a:r>
            <a:r>
              <a:rPr kumimoji="0" sz="1800" b="1" i="0" u="none" strike="noStrike" kern="1200" cap="none" spc="-204" normalizeH="0" baseline="0" noProof="0" dirty="0">
                <a:ln>
                  <a:noFill/>
                </a:ln>
                <a:solidFill>
                  <a:srgbClr val="00B9C7"/>
                </a:solidFill>
                <a:effectLst/>
                <a:uLnTx/>
                <a:uFillTx/>
                <a:latin typeface="Arial"/>
                <a:ea typeface="+mn-ea"/>
                <a:cs typeface="Arial"/>
              </a:rPr>
              <a:t> </a:t>
            </a:r>
            <a:r>
              <a:rPr kumimoji="0" sz="1800" b="1" i="0" u="none" strike="noStrike" kern="1200" cap="none" spc="-55" normalizeH="0" baseline="0" noProof="0" dirty="0">
                <a:ln>
                  <a:noFill/>
                </a:ln>
                <a:solidFill>
                  <a:srgbClr val="00B9C7"/>
                </a:solidFill>
                <a:effectLst/>
                <a:uLnTx/>
                <a:uFillTx/>
                <a:latin typeface="Arial"/>
                <a:ea typeface="+mn-ea"/>
                <a:cs typeface="Arial"/>
              </a:rPr>
              <a:t>T </a:t>
            </a:r>
            <a:r>
              <a:rPr kumimoji="0" sz="1800" b="1" i="0" u="none" strike="noStrike" kern="1200" cap="none" spc="-10" normalizeH="0" baseline="0" noProof="0" dirty="0">
                <a:ln>
                  <a:noFill/>
                </a:ln>
                <a:solidFill>
                  <a:srgbClr val="00B9C7"/>
                </a:solidFill>
                <a:effectLst/>
                <a:uLnTx/>
                <a:uFillTx/>
                <a:latin typeface="Arial"/>
                <a:ea typeface="+mn-ea"/>
                <a:cs typeface="Arial"/>
              </a:rPr>
              <a:t> </a:t>
            </a:r>
            <a:r>
              <a:rPr kumimoji="0" sz="1800" b="1" i="0" u="none" strike="noStrike" kern="1200" cap="none" spc="-65" normalizeH="0" baseline="0" noProof="0" dirty="0">
                <a:ln>
                  <a:noFill/>
                </a:ln>
                <a:solidFill>
                  <a:srgbClr val="00B9C7"/>
                </a:solidFill>
                <a:effectLst/>
                <a:uLnTx/>
                <a:uFillTx/>
                <a:latin typeface="Arial"/>
                <a:ea typeface="+mn-ea"/>
                <a:cs typeface="Arial"/>
              </a:rPr>
              <a:t>F</a:t>
            </a:r>
            <a:r>
              <a:rPr kumimoji="0" sz="1800" b="1" i="0" u="none" strike="noStrike" kern="1200" cap="none" spc="-200" normalizeH="0" baseline="0" noProof="0" dirty="0">
                <a:ln>
                  <a:noFill/>
                </a:ln>
                <a:solidFill>
                  <a:srgbClr val="00B9C7"/>
                </a:solidFill>
                <a:effectLst/>
                <a:uLnTx/>
                <a:uFillTx/>
                <a:latin typeface="Arial"/>
                <a:ea typeface="+mn-ea"/>
                <a:cs typeface="Arial"/>
              </a:rPr>
              <a:t> </a:t>
            </a:r>
            <a:r>
              <a:rPr kumimoji="0" sz="1800" b="1" i="0" u="none" strike="noStrike" kern="1200" cap="none" spc="130" normalizeH="0" baseline="0" noProof="0" dirty="0">
                <a:ln>
                  <a:noFill/>
                </a:ln>
                <a:solidFill>
                  <a:srgbClr val="00B9C7"/>
                </a:solidFill>
                <a:effectLst/>
                <a:uLnTx/>
                <a:uFillTx/>
                <a:latin typeface="Arial"/>
                <a:ea typeface="+mn-ea"/>
                <a:cs typeface="Arial"/>
              </a:rPr>
              <a:t>O</a:t>
            </a:r>
            <a:r>
              <a:rPr kumimoji="0" sz="1800" b="1" i="0" u="none" strike="noStrike" kern="1200" cap="none" spc="-195" normalizeH="0" baseline="0" noProof="0" dirty="0">
                <a:ln>
                  <a:noFill/>
                </a:ln>
                <a:solidFill>
                  <a:srgbClr val="00B9C7"/>
                </a:solidFill>
                <a:effectLst/>
                <a:uLnTx/>
                <a:uFillTx/>
                <a:latin typeface="Arial"/>
                <a:ea typeface="+mn-ea"/>
                <a:cs typeface="Arial"/>
              </a:rPr>
              <a:t> </a:t>
            </a:r>
            <a:r>
              <a:rPr kumimoji="0" sz="1800" b="1" i="0" u="none" strike="noStrike" kern="1200" cap="none" spc="-105" normalizeH="0" baseline="0" noProof="0" dirty="0">
                <a:ln>
                  <a:noFill/>
                </a:ln>
                <a:solidFill>
                  <a:srgbClr val="00B9C7"/>
                </a:solidFill>
                <a:effectLst/>
                <a:uLnTx/>
                <a:uFillTx/>
                <a:latin typeface="Arial"/>
                <a:ea typeface="+mn-ea"/>
                <a:cs typeface="Arial"/>
              </a:rPr>
              <a:t>R</a:t>
            </a:r>
            <a:endParaRPr kumimoji="0" sz="1800" b="0" i="0" u="none" strike="noStrike" kern="1200" cap="none" spc="0" normalizeH="0" baseline="0" noProof="0">
              <a:ln>
                <a:noFill/>
              </a:ln>
              <a:solidFill>
                <a:prstClr val="black"/>
              </a:solidFill>
              <a:effectLst/>
              <a:uLnTx/>
              <a:uFillTx/>
              <a:latin typeface="Arial"/>
              <a:ea typeface="+mn-ea"/>
              <a:cs typeface="Arial"/>
            </a:endParaRPr>
          </a:p>
          <a:p>
            <a:pPr marL="0" marR="5080" lvl="0" indent="0" algn="r" defTabSz="914400" rtl="0" eaLnBrk="1" fontAlgn="auto" latinLnBrk="0" hangingPunct="1">
              <a:lnSpc>
                <a:spcPct val="100000"/>
              </a:lnSpc>
              <a:spcBef>
                <a:spcPts val="550"/>
              </a:spcBef>
              <a:spcAft>
                <a:spcPts val="0"/>
              </a:spcAft>
              <a:buClrTx/>
              <a:buSzTx/>
              <a:buFontTx/>
              <a:buNone/>
              <a:tabLst/>
              <a:defRPr/>
            </a:pPr>
            <a:r>
              <a:rPr kumimoji="0" sz="1800" b="1" i="0" u="none" strike="noStrike" kern="1200" cap="none" spc="-110" normalizeH="0" baseline="0" noProof="0" dirty="0">
                <a:ln>
                  <a:noFill/>
                </a:ln>
                <a:solidFill>
                  <a:srgbClr val="00B9C7"/>
                </a:solidFill>
                <a:effectLst/>
                <a:uLnTx/>
                <a:uFillTx/>
                <a:latin typeface="Arial"/>
                <a:ea typeface="+mn-ea"/>
                <a:cs typeface="Arial"/>
              </a:rPr>
              <a:t>E</a:t>
            </a:r>
            <a:r>
              <a:rPr kumimoji="0" sz="1800" b="1" i="0" u="none" strike="noStrike" kern="1200" cap="none" spc="-190" normalizeH="0" baseline="0" noProof="0" dirty="0">
                <a:ln>
                  <a:noFill/>
                </a:ln>
                <a:solidFill>
                  <a:srgbClr val="00B9C7"/>
                </a:solidFill>
                <a:effectLst/>
                <a:uLnTx/>
                <a:uFillTx/>
                <a:latin typeface="Arial"/>
                <a:ea typeface="+mn-ea"/>
                <a:cs typeface="Arial"/>
              </a:rPr>
              <a:t> </a:t>
            </a:r>
            <a:r>
              <a:rPr kumimoji="0" sz="1800" b="1" i="0" u="none" strike="noStrike" kern="1200" cap="none" spc="-65" normalizeH="0" baseline="0" noProof="0" dirty="0">
                <a:ln>
                  <a:noFill/>
                </a:ln>
                <a:solidFill>
                  <a:srgbClr val="00B9C7"/>
                </a:solidFill>
                <a:effectLst/>
                <a:uLnTx/>
                <a:uFillTx/>
                <a:latin typeface="Arial"/>
                <a:ea typeface="+mn-ea"/>
                <a:cs typeface="Arial"/>
              </a:rPr>
              <a:t>F</a:t>
            </a:r>
            <a:r>
              <a:rPr kumimoji="0" sz="1800" b="1" i="0" u="none" strike="noStrike" kern="1200" cap="none" spc="-200" normalizeH="0" baseline="0" noProof="0" dirty="0">
                <a:ln>
                  <a:noFill/>
                </a:ln>
                <a:solidFill>
                  <a:srgbClr val="00B9C7"/>
                </a:solidFill>
                <a:effectLst/>
                <a:uLnTx/>
                <a:uFillTx/>
                <a:latin typeface="Arial"/>
                <a:ea typeface="+mn-ea"/>
                <a:cs typeface="Arial"/>
              </a:rPr>
              <a:t> </a:t>
            </a:r>
            <a:r>
              <a:rPr kumimoji="0" sz="1800" b="1" i="0" u="none" strike="noStrike" kern="1200" cap="none" spc="-65" normalizeH="0" baseline="0" noProof="0" dirty="0">
                <a:ln>
                  <a:noFill/>
                </a:ln>
                <a:solidFill>
                  <a:srgbClr val="00B9C7"/>
                </a:solidFill>
                <a:effectLst/>
                <a:uLnTx/>
                <a:uFillTx/>
                <a:latin typeface="Arial"/>
                <a:ea typeface="+mn-ea"/>
                <a:cs typeface="Arial"/>
              </a:rPr>
              <a:t>F</a:t>
            </a:r>
            <a:r>
              <a:rPr kumimoji="0" sz="1800" b="1" i="0" u="none" strike="noStrike" kern="1200" cap="none" spc="-200" normalizeH="0" baseline="0" noProof="0" dirty="0">
                <a:ln>
                  <a:noFill/>
                </a:ln>
                <a:solidFill>
                  <a:srgbClr val="00B9C7"/>
                </a:solidFill>
                <a:effectLst/>
                <a:uLnTx/>
                <a:uFillTx/>
                <a:latin typeface="Arial"/>
                <a:ea typeface="+mn-ea"/>
                <a:cs typeface="Arial"/>
              </a:rPr>
              <a:t> </a:t>
            </a:r>
            <a:r>
              <a:rPr kumimoji="0" sz="1800" b="1" i="0" u="none" strike="noStrike" kern="1200" cap="none" spc="-110" normalizeH="0" baseline="0" noProof="0" dirty="0">
                <a:ln>
                  <a:noFill/>
                </a:ln>
                <a:solidFill>
                  <a:srgbClr val="00B9C7"/>
                </a:solidFill>
                <a:effectLst/>
                <a:uLnTx/>
                <a:uFillTx/>
                <a:latin typeface="Arial"/>
                <a:ea typeface="+mn-ea"/>
                <a:cs typeface="Arial"/>
              </a:rPr>
              <a:t>E</a:t>
            </a:r>
            <a:r>
              <a:rPr kumimoji="0" sz="1800" b="1" i="0" u="none" strike="noStrike" kern="1200" cap="none" spc="-185" normalizeH="0" baseline="0" noProof="0" dirty="0">
                <a:ln>
                  <a:noFill/>
                </a:ln>
                <a:solidFill>
                  <a:srgbClr val="00B9C7"/>
                </a:solidFill>
                <a:effectLst/>
                <a:uLnTx/>
                <a:uFillTx/>
                <a:latin typeface="Arial"/>
                <a:ea typeface="+mn-ea"/>
                <a:cs typeface="Arial"/>
              </a:rPr>
              <a:t> </a:t>
            </a:r>
            <a:r>
              <a:rPr kumimoji="0" sz="1800" b="1" i="0" u="none" strike="noStrike" kern="1200" cap="none" spc="-50" normalizeH="0" baseline="0" noProof="0" dirty="0">
                <a:ln>
                  <a:noFill/>
                </a:ln>
                <a:solidFill>
                  <a:srgbClr val="00B9C7"/>
                </a:solidFill>
                <a:effectLst/>
                <a:uLnTx/>
                <a:uFillTx/>
                <a:latin typeface="Arial"/>
                <a:ea typeface="+mn-ea"/>
                <a:cs typeface="Arial"/>
              </a:rPr>
              <a:t>C</a:t>
            </a:r>
            <a:r>
              <a:rPr kumimoji="0" sz="1800" b="1" i="0" u="none" strike="noStrike" kern="1200" cap="none" spc="-229" normalizeH="0" baseline="0" noProof="0" dirty="0">
                <a:ln>
                  <a:noFill/>
                </a:ln>
                <a:solidFill>
                  <a:srgbClr val="00B9C7"/>
                </a:solidFill>
                <a:effectLst/>
                <a:uLnTx/>
                <a:uFillTx/>
                <a:latin typeface="Arial"/>
                <a:ea typeface="+mn-ea"/>
                <a:cs typeface="Arial"/>
              </a:rPr>
              <a:t> </a:t>
            </a:r>
            <a:r>
              <a:rPr kumimoji="0" sz="1800" b="1" i="0" u="none" strike="noStrike" kern="1200" cap="none" spc="-55" normalizeH="0" baseline="0" noProof="0" dirty="0">
                <a:ln>
                  <a:noFill/>
                </a:ln>
                <a:solidFill>
                  <a:srgbClr val="00B9C7"/>
                </a:solidFill>
                <a:effectLst/>
                <a:uLnTx/>
                <a:uFillTx/>
                <a:latin typeface="Arial"/>
                <a:ea typeface="+mn-ea"/>
                <a:cs typeface="Arial"/>
              </a:rPr>
              <a:t>T</a:t>
            </a:r>
            <a:r>
              <a:rPr kumimoji="0" sz="1800" b="1" i="0" u="none" strike="noStrike" kern="1200" cap="none" spc="-210" normalizeH="0" baseline="0" noProof="0" dirty="0">
                <a:ln>
                  <a:noFill/>
                </a:ln>
                <a:solidFill>
                  <a:srgbClr val="00B9C7"/>
                </a:solidFill>
                <a:effectLst/>
                <a:uLnTx/>
                <a:uFillTx/>
                <a:latin typeface="Arial"/>
                <a:ea typeface="+mn-ea"/>
                <a:cs typeface="Arial"/>
              </a:rPr>
              <a:t> </a:t>
            </a:r>
            <a:r>
              <a:rPr kumimoji="0" sz="1800" b="1" i="0" u="none" strike="noStrike" kern="1200" cap="none" spc="70" normalizeH="0" baseline="0" noProof="0" dirty="0">
                <a:ln>
                  <a:noFill/>
                </a:ln>
                <a:solidFill>
                  <a:srgbClr val="00B9C7"/>
                </a:solidFill>
                <a:effectLst/>
                <a:uLnTx/>
                <a:uFillTx/>
                <a:latin typeface="Arial"/>
                <a:ea typeface="+mn-ea"/>
                <a:cs typeface="Arial"/>
              </a:rPr>
              <a:t>I</a:t>
            </a:r>
            <a:r>
              <a:rPr kumimoji="0" sz="1800" b="1" i="0" u="none" strike="noStrike" kern="1200" cap="none" spc="-195" normalizeH="0" baseline="0" noProof="0" dirty="0">
                <a:ln>
                  <a:noFill/>
                </a:ln>
                <a:solidFill>
                  <a:srgbClr val="00B9C7"/>
                </a:solidFill>
                <a:effectLst/>
                <a:uLnTx/>
                <a:uFillTx/>
                <a:latin typeface="Arial"/>
                <a:ea typeface="+mn-ea"/>
                <a:cs typeface="Arial"/>
              </a:rPr>
              <a:t> </a:t>
            </a:r>
            <a:r>
              <a:rPr kumimoji="0" sz="1800" b="1" i="0" u="none" strike="noStrike" kern="1200" cap="none" spc="25" normalizeH="0" baseline="0" noProof="0" dirty="0">
                <a:ln>
                  <a:noFill/>
                </a:ln>
                <a:solidFill>
                  <a:srgbClr val="00B9C7"/>
                </a:solidFill>
                <a:effectLst/>
                <a:uLnTx/>
                <a:uFillTx/>
                <a:latin typeface="Arial"/>
                <a:ea typeface="+mn-ea"/>
                <a:cs typeface="Arial"/>
              </a:rPr>
              <a:t>V</a:t>
            </a:r>
            <a:r>
              <a:rPr kumimoji="0" sz="1800" b="1" i="0" u="none" strike="noStrike" kern="1200" cap="none" spc="-225" normalizeH="0" baseline="0" noProof="0" dirty="0">
                <a:ln>
                  <a:noFill/>
                </a:ln>
                <a:solidFill>
                  <a:srgbClr val="00B9C7"/>
                </a:solidFill>
                <a:effectLst/>
                <a:uLnTx/>
                <a:uFillTx/>
                <a:latin typeface="Arial"/>
                <a:ea typeface="+mn-ea"/>
                <a:cs typeface="Arial"/>
              </a:rPr>
              <a:t> </a:t>
            </a:r>
            <a:r>
              <a:rPr kumimoji="0" sz="1800" b="1" i="0" u="none" strike="noStrike" kern="1200" cap="none" spc="-110" normalizeH="0" baseline="0" noProof="0" dirty="0">
                <a:ln>
                  <a:noFill/>
                </a:ln>
                <a:solidFill>
                  <a:srgbClr val="00B9C7"/>
                </a:solidFill>
                <a:effectLst/>
                <a:uLnTx/>
                <a:uFillTx/>
                <a:latin typeface="Arial"/>
                <a:ea typeface="+mn-ea"/>
                <a:cs typeface="Arial"/>
              </a:rPr>
              <a:t>E</a:t>
            </a:r>
            <a:r>
              <a:rPr kumimoji="0" sz="1800" b="1" i="0" u="none" strike="noStrike" kern="1200" cap="none" spc="-210" normalizeH="0" baseline="0" noProof="0" dirty="0">
                <a:ln>
                  <a:noFill/>
                </a:ln>
                <a:solidFill>
                  <a:srgbClr val="00B9C7"/>
                </a:solidFill>
                <a:effectLst/>
                <a:uLnTx/>
                <a:uFillTx/>
                <a:latin typeface="Arial"/>
                <a:ea typeface="+mn-ea"/>
                <a:cs typeface="Arial"/>
              </a:rPr>
              <a:t> </a:t>
            </a:r>
            <a:r>
              <a:rPr kumimoji="0" sz="1800" b="1" i="0" u="none" strike="noStrike" kern="1200" cap="none" spc="120" normalizeH="0" baseline="0" noProof="0" dirty="0">
                <a:ln>
                  <a:noFill/>
                </a:ln>
                <a:solidFill>
                  <a:srgbClr val="00B9C7"/>
                </a:solidFill>
                <a:effectLst/>
                <a:uLnTx/>
                <a:uFillTx/>
                <a:latin typeface="Arial"/>
                <a:ea typeface="+mn-ea"/>
                <a:cs typeface="Arial"/>
              </a:rPr>
              <a:t>N</a:t>
            </a:r>
            <a:r>
              <a:rPr kumimoji="0" sz="1800" b="1" i="0" u="none" strike="noStrike" kern="1200" cap="none" spc="-204" normalizeH="0" baseline="0" noProof="0" dirty="0">
                <a:ln>
                  <a:noFill/>
                </a:ln>
                <a:solidFill>
                  <a:srgbClr val="00B9C7"/>
                </a:solidFill>
                <a:effectLst/>
                <a:uLnTx/>
                <a:uFillTx/>
                <a:latin typeface="Arial"/>
                <a:ea typeface="+mn-ea"/>
                <a:cs typeface="Arial"/>
              </a:rPr>
              <a:t> </a:t>
            </a:r>
            <a:r>
              <a:rPr kumimoji="0" sz="1800" b="1" i="0" u="none" strike="noStrike" kern="1200" cap="none" spc="-110" normalizeH="0" baseline="0" noProof="0" dirty="0">
                <a:ln>
                  <a:noFill/>
                </a:ln>
                <a:solidFill>
                  <a:srgbClr val="00B9C7"/>
                </a:solidFill>
                <a:effectLst/>
                <a:uLnTx/>
                <a:uFillTx/>
                <a:latin typeface="Arial"/>
                <a:ea typeface="+mn-ea"/>
                <a:cs typeface="Arial"/>
              </a:rPr>
              <a:t>E</a:t>
            </a:r>
            <a:r>
              <a:rPr kumimoji="0" sz="1800" b="1" i="0" u="none" strike="noStrike" kern="1200" cap="none" spc="-215" normalizeH="0" baseline="0" noProof="0" dirty="0">
                <a:ln>
                  <a:noFill/>
                </a:ln>
                <a:solidFill>
                  <a:srgbClr val="00B9C7"/>
                </a:solidFill>
                <a:effectLst/>
                <a:uLnTx/>
                <a:uFillTx/>
                <a:latin typeface="Arial"/>
                <a:ea typeface="+mn-ea"/>
                <a:cs typeface="Arial"/>
              </a:rPr>
              <a:t> </a:t>
            </a:r>
            <a:r>
              <a:rPr kumimoji="0" sz="1800" b="1" i="0" u="none" strike="noStrike" kern="1200" cap="none" spc="-140" normalizeH="0" baseline="0" noProof="0" dirty="0">
                <a:ln>
                  <a:noFill/>
                </a:ln>
                <a:solidFill>
                  <a:srgbClr val="00B9C7"/>
                </a:solidFill>
                <a:effectLst/>
                <a:uLnTx/>
                <a:uFillTx/>
                <a:latin typeface="Arial"/>
                <a:ea typeface="+mn-ea"/>
                <a:cs typeface="Arial"/>
              </a:rPr>
              <a:t>S</a:t>
            </a:r>
            <a:r>
              <a:rPr kumimoji="0" sz="1800" b="1" i="0" u="none" strike="noStrike" kern="1200" cap="none" spc="-204" normalizeH="0" baseline="0" noProof="0" dirty="0">
                <a:ln>
                  <a:noFill/>
                </a:ln>
                <a:solidFill>
                  <a:srgbClr val="00B9C7"/>
                </a:solidFill>
                <a:effectLst/>
                <a:uLnTx/>
                <a:uFillTx/>
                <a:latin typeface="Arial"/>
                <a:ea typeface="+mn-ea"/>
                <a:cs typeface="Arial"/>
              </a:rPr>
              <a:t> </a:t>
            </a:r>
            <a:r>
              <a:rPr kumimoji="0" sz="1800" b="1" i="0" u="none" strike="noStrike" kern="1200" cap="none" spc="-140" normalizeH="0" baseline="0" noProof="0" dirty="0">
                <a:ln>
                  <a:noFill/>
                </a:ln>
                <a:solidFill>
                  <a:srgbClr val="00B9C7"/>
                </a:solidFill>
                <a:effectLst/>
                <a:uLnTx/>
                <a:uFillTx/>
                <a:latin typeface="Arial"/>
                <a:ea typeface="+mn-ea"/>
                <a:cs typeface="Arial"/>
              </a:rPr>
              <a:t>S</a:t>
            </a:r>
            <a:endParaRPr kumimoji="0" sz="1800" b="0" i="0" u="none" strike="noStrike" kern="1200" cap="none" spc="0" normalizeH="0" baseline="0" noProof="0">
              <a:ln>
                <a:noFill/>
              </a:ln>
              <a:solidFill>
                <a:prstClr val="black"/>
              </a:solidFill>
              <a:effectLst/>
              <a:uLnTx/>
              <a:uFillTx/>
              <a:latin typeface="Arial"/>
              <a:ea typeface="+mn-ea"/>
              <a:cs typeface="Arial"/>
            </a:endParaRPr>
          </a:p>
        </p:txBody>
      </p:sp>
      <p:grpSp>
        <p:nvGrpSpPr>
          <p:cNvPr id="11" name="object 11"/>
          <p:cNvGrpSpPr/>
          <p:nvPr/>
        </p:nvGrpSpPr>
        <p:grpSpPr>
          <a:xfrm>
            <a:off x="0" y="0"/>
            <a:ext cx="7267575" cy="6856095"/>
            <a:chOff x="0" y="0"/>
            <a:chExt cx="7267575" cy="6856095"/>
          </a:xfrm>
        </p:grpSpPr>
        <p:sp>
          <p:nvSpPr>
            <p:cNvPr id="12" name="object 12"/>
            <p:cNvSpPr/>
            <p:nvPr/>
          </p:nvSpPr>
          <p:spPr>
            <a:xfrm>
              <a:off x="0" y="0"/>
              <a:ext cx="5761482" cy="5764530"/>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176784" y="2471927"/>
              <a:ext cx="4325874" cy="4325874"/>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p:nvPr/>
          </p:nvSpPr>
          <p:spPr>
            <a:xfrm>
              <a:off x="408431" y="0"/>
              <a:ext cx="6858761" cy="6855713"/>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5" name="object 15"/>
            <p:cNvSpPr/>
            <p:nvPr/>
          </p:nvSpPr>
          <p:spPr>
            <a:xfrm>
              <a:off x="0" y="0"/>
              <a:ext cx="6858761" cy="6855713"/>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6" name="object 16"/>
          <p:cNvSpPr txBox="1"/>
          <p:nvPr/>
        </p:nvSpPr>
        <p:spPr>
          <a:xfrm>
            <a:off x="222910" y="6549034"/>
            <a:ext cx="1327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
        <p:nvSpPr>
          <p:cNvPr id="17" name="object 17"/>
          <p:cNvSpPr txBox="1"/>
          <p:nvPr/>
        </p:nvSpPr>
        <p:spPr>
          <a:xfrm>
            <a:off x="6160134" y="4680584"/>
            <a:ext cx="5739130" cy="1943735"/>
          </a:xfrm>
          <a:prstGeom prst="rect">
            <a:avLst/>
          </a:prstGeom>
        </p:spPr>
        <p:txBody>
          <a:bodyPr vert="horz" wrap="square" lIns="0" tIns="12700" rIns="0" bIns="0" rtlCol="0">
            <a:spAutoFit/>
          </a:bodyPr>
          <a:lstStyle/>
          <a:p>
            <a:pPr marL="0" marR="8255" lvl="0" indent="0" algn="r" defTabSz="914400" rtl="0" eaLnBrk="1" fontAlgn="auto" latinLnBrk="0" hangingPunct="1">
              <a:lnSpc>
                <a:spcPct val="100000"/>
              </a:lnSpc>
              <a:spcBef>
                <a:spcPts val="100"/>
              </a:spcBef>
              <a:spcAft>
                <a:spcPts val="0"/>
              </a:spcAft>
              <a:buClrTx/>
              <a:buSzTx/>
              <a:buFontTx/>
              <a:buNone/>
              <a:tabLst>
                <a:tab pos="480059" algn="l"/>
              </a:tabLst>
              <a:defRPr/>
            </a:pPr>
            <a:r>
              <a:rPr kumimoji="0" sz="1800" b="0" i="0" u="none" strike="noStrike" kern="1200" cap="none" spc="-25" normalizeH="0" baseline="0" noProof="0" dirty="0">
                <a:ln>
                  <a:noFill/>
                </a:ln>
                <a:solidFill>
                  <a:srgbClr val="FFFFFF"/>
                </a:solidFill>
                <a:effectLst/>
                <a:uLnTx/>
                <a:uFillTx/>
                <a:latin typeface="Verdana"/>
                <a:ea typeface="+mn-ea"/>
                <a:cs typeface="Verdana"/>
              </a:rPr>
              <a:t>D</a:t>
            </a:r>
            <a:r>
              <a:rPr kumimoji="0" sz="1800" b="0" i="0" u="none" strike="noStrike" kern="1200" cap="none" spc="-320" normalizeH="0" baseline="0" noProof="0" dirty="0">
                <a:ln>
                  <a:noFill/>
                </a:ln>
                <a:solidFill>
                  <a:srgbClr val="FFFFFF"/>
                </a:solidFill>
                <a:effectLst/>
                <a:uLnTx/>
                <a:uFillTx/>
                <a:latin typeface="Verdana"/>
                <a:ea typeface="+mn-ea"/>
                <a:cs typeface="Verdana"/>
              </a:rPr>
              <a:t> </a:t>
            </a:r>
            <a:r>
              <a:rPr kumimoji="0" sz="1800" b="0" i="0" u="none" strike="noStrike" kern="1200" cap="none" spc="-175" normalizeH="0" baseline="0" noProof="0" dirty="0">
                <a:ln>
                  <a:noFill/>
                </a:ln>
                <a:solidFill>
                  <a:srgbClr val="FFFFFF"/>
                </a:solidFill>
                <a:effectLst/>
                <a:uLnTx/>
                <a:uFillTx/>
                <a:latin typeface="Verdana"/>
                <a:ea typeface="+mn-ea"/>
                <a:cs typeface="Verdana"/>
              </a:rPr>
              <a:t>R	</a:t>
            </a:r>
            <a:r>
              <a:rPr kumimoji="0" sz="1800" b="0" i="0" u="none" strike="noStrike" kern="1200" cap="none" spc="90" normalizeH="0" baseline="0" noProof="0" dirty="0">
                <a:ln>
                  <a:noFill/>
                </a:ln>
                <a:solidFill>
                  <a:srgbClr val="FFFFFF"/>
                </a:solidFill>
                <a:effectLst/>
                <a:uLnTx/>
                <a:uFillTx/>
                <a:latin typeface="Verdana"/>
                <a:ea typeface="+mn-ea"/>
                <a:cs typeface="Verdana"/>
              </a:rPr>
              <a:t>PA</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40" normalizeH="0" baseline="0" noProof="0" dirty="0">
                <a:ln>
                  <a:noFill/>
                </a:ln>
                <a:solidFill>
                  <a:srgbClr val="FFFFFF"/>
                </a:solidFill>
                <a:effectLst/>
                <a:uLnTx/>
                <a:uFillTx/>
                <a:latin typeface="Verdana"/>
                <a:ea typeface="+mn-ea"/>
                <a:cs typeface="Verdana"/>
              </a:rPr>
              <a:t>U</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85" normalizeH="0" baseline="0" noProof="0" dirty="0">
                <a:ln>
                  <a:noFill/>
                </a:ln>
                <a:solidFill>
                  <a:srgbClr val="FFFFFF"/>
                </a:solidFill>
                <a:effectLst/>
                <a:uLnTx/>
                <a:uFillTx/>
                <a:latin typeface="Verdana"/>
                <a:ea typeface="+mn-ea"/>
                <a:cs typeface="Verdana"/>
              </a:rPr>
              <a:t>L</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290" normalizeH="0" baseline="0" noProof="0" dirty="0">
                <a:ln>
                  <a:noFill/>
                </a:ln>
                <a:solidFill>
                  <a:srgbClr val="FFFFFF"/>
                </a:solidFill>
                <a:effectLst/>
                <a:uLnTx/>
                <a:uFillTx/>
                <a:latin typeface="Verdana"/>
                <a:ea typeface="+mn-ea"/>
                <a:cs typeface="Verdana"/>
              </a:rPr>
              <a:t>I</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25" normalizeH="0" baseline="0" noProof="0" dirty="0">
                <a:ln>
                  <a:noFill/>
                </a:ln>
                <a:solidFill>
                  <a:srgbClr val="FFFFFF"/>
                </a:solidFill>
                <a:effectLst/>
                <a:uLnTx/>
                <a:uFillTx/>
                <a:latin typeface="Verdana"/>
                <a:ea typeface="+mn-ea"/>
                <a:cs typeface="Verdana"/>
              </a:rPr>
              <a:t>N</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75" normalizeH="0" baseline="0" noProof="0" dirty="0">
                <a:ln>
                  <a:noFill/>
                </a:ln>
                <a:solidFill>
                  <a:srgbClr val="FFFFFF"/>
                </a:solidFill>
                <a:effectLst/>
                <a:uLnTx/>
                <a:uFillTx/>
                <a:latin typeface="Verdana"/>
                <a:ea typeface="+mn-ea"/>
                <a:cs typeface="Verdana"/>
              </a:rPr>
              <a:t>E</a:t>
            </a:r>
            <a:r>
              <a:rPr kumimoji="0" sz="1800" b="0" i="0" u="none" strike="noStrike" kern="1200" cap="none" spc="320" normalizeH="0" baseline="0" noProof="0" dirty="0">
                <a:ln>
                  <a:noFill/>
                </a:ln>
                <a:solidFill>
                  <a:srgbClr val="FFFFFF"/>
                </a:solidFill>
                <a:effectLst/>
                <a:uLnTx/>
                <a:uFillTx/>
                <a:latin typeface="Verdana"/>
                <a:ea typeface="+mn-ea"/>
                <a:cs typeface="Verdana"/>
              </a:rPr>
              <a:t> </a:t>
            </a:r>
            <a:r>
              <a:rPr kumimoji="0" sz="1800" b="0" i="0" u="none" strike="noStrike" kern="1200" cap="none" spc="-75" normalizeH="0" baseline="0" noProof="0" dirty="0">
                <a:ln>
                  <a:noFill/>
                </a:ln>
                <a:solidFill>
                  <a:srgbClr val="FFFFFF"/>
                </a:solidFill>
                <a:effectLst/>
                <a:uLnTx/>
                <a:uFillTx/>
                <a:latin typeface="Verdana"/>
                <a:ea typeface="+mn-ea"/>
                <a:cs typeface="Verdana"/>
              </a:rPr>
              <a:t>E</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175" normalizeH="0" baseline="0" noProof="0" dirty="0">
                <a:ln>
                  <a:noFill/>
                </a:ln>
                <a:solidFill>
                  <a:srgbClr val="FFFFFF"/>
                </a:solidFill>
                <a:effectLst/>
                <a:uLnTx/>
                <a:uFillTx/>
                <a:latin typeface="Verdana"/>
                <a:ea typeface="+mn-ea"/>
                <a:cs typeface="Verdana"/>
              </a:rPr>
              <a:t>R</a:t>
            </a:r>
            <a:r>
              <a:rPr kumimoji="0" sz="1800" b="0" i="0" u="none" strike="noStrike" kern="1200" cap="none" spc="-330" normalizeH="0" baseline="0" noProof="0" dirty="0">
                <a:ln>
                  <a:noFill/>
                </a:ln>
                <a:solidFill>
                  <a:srgbClr val="FFFFFF"/>
                </a:solidFill>
                <a:effectLst/>
                <a:uLnTx/>
                <a:uFillTx/>
                <a:latin typeface="Verdana"/>
                <a:ea typeface="+mn-ea"/>
                <a:cs typeface="Verdana"/>
              </a:rPr>
              <a:t> </a:t>
            </a:r>
            <a:r>
              <a:rPr kumimoji="0" sz="1800" b="0" i="0" u="none" strike="noStrike" kern="1200" cap="none" spc="-290" normalizeH="0" baseline="0" noProof="0" dirty="0">
                <a:ln>
                  <a:noFill/>
                </a:ln>
                <a:solidFill>
                  <a:srgbClr val="FFFFFF"/>
                </a:solidFill>
                <a:effectLst/>
                <a:uLnTx/>
                <a:uFillTx/>
                <a:latin typeface="Verdana"/>
                <a:ea typeface="+mn-ea"/>
                <a:cs typeface="Verdana"/>
              </a:rPr>
              <a:t>I</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35" normalizeH="0" baseline="0" noProof="0" dirty="0">
                <a:ln>
                  <a:noFill/>
                </a:ln>
                <a:solidFill>
                  <a:srgbClr val="FFFFFF"/>
                </a:solidFill>
                <a:effectLst/>
                <a:uLnTx/>
                <a:uFillTx/>
                <a:latin typeface="Verdana"/>
                <a:ea typeface="+mn-ea"/>
                <a:cs typeface="Verdana"/>
              </a:rPr>
              <a:t>C</a:t>
            </a:r>
            <a:r>
              <a:rPr kumimoji="0" sz="1800" b="0" i="0" u="none" strike="noStrike" kern="1200" cap="none" spc="-355" normalizeH="0" baseline="0" noProof="0" dirty="0">
                <a:ln>
                  <a:noFill/>
                </a:ln>
                <a:solidFill>
                  <a:srgbClr val="FFFFFF"/>
                </a:solidFill>
                <a:effectLst/>
                <a:uLnTx/>
                <a:uFillTx/>
                <a:latin typeface="Verdana"/>
                <a:ea typeface="+mn-ea"/>
                <a:cs typeface="Verdana"/>
              </a:rPr>
              <a:t> </a:t>
            </a:r>
            <a:r>
              <a:rPr kumimoji="0" sz="1800" b="0" i="0" u="none" strike="noStrike" kern="1200" cap="none" spc="25" normalizeH="0" baseline="0" noProof="0" dirty="0">
                <a:ln>
                  <a:noFill/>
                </a:ln>
                <a:solidFill>
                  <a:srgbClr val="FFFFFF"/>
                </a:solidFill>
                <a:effectLst/>
                <a:uLnTx/>
                <a:uFillTx/>
                <a:latin typeface="Verdana"/>
                <a:ea typeface="+mn-ea"/>
                <a:cs typeface="Verdana"/>
              </a:rPr>
              <a:t>A</a:t>
            </a:r>
            <a:r>
              <a:rPr kumimoji="0" sz="1800" b="0" i="0" u="none" strike="noStrike" kern="1200" cap="none" spc="330" normalizeH="0" baseline="0" noProof="0" dirty="0">
                <a:ln>
                  <a:noFill/>
                </a:ln>
                <a:solidFill>
                  <a:srgbClr val="FFFFFF"/>
                </a:solidFill>
                <a:effectLst/>
                <a:uLnTx/>
                <a:uFillTx/>
                <a:latin typeface="Verdana"/>
                <a:ea typeface="+mn-ea"/>
                <a:cs typeface="Verdana"/>
              </a:rPr>
              <a:t> </a:t>
            </a:r>
            <a:r>
              <a:rPr kumimoji="0" sz="1800" b="0" i="0" u="none" strike="noStrike" kern="1200" cap="none" spc="105" normalizeH="0" baseline="0" noProof="0" dirty="0">
                <a:ln>
                  <a:noFill/>
                </a:ln>
                <a:solidFill>
                  <a:srgbClr val="FFFFFF"/>
                </a:solidFill>
                <a:effectLst/>
                <a:uLnTx/>
                <a:uFillTx/>
                <a:latin typeface="Verdana"/>
                <a:ea typeface="+mn-ea"/>
                <a:cs typeface="Verdana"/>
              </a:rPr>
              <a:t>TAY</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0" marR="9525" lvl="0" indent="0" algn="r" defTabSz="914400" rtl="0" eaLnBrk="1" fontAlgn="auto" latinLnBrk="0" hangingPunct="1">
              <a:lnSpc>
                <a:spcPct val="100000"/>
              </a:lnSpc>
              <a:spcBef>
                <a:spcPts val="1320"/>
              </a:spcBef>
              <a:spcAft>
                <a:spcPts val="0"/>
              </a:spcAft>
              <a:buClrTx/>
              <a:buSzTx/>
              <a:buFontTx/>
              <a:buNone/>
              <a:tabLst/>
              <a:defRPr/>
            </a:pPr>
            <a:r>
              <a:rPr kumimoji="0" sz="1800" b="0" i="0" u="none" strike="noStrike" kern="1200" cap="none" spc="40" normalizeH="0" baseline="0" noProof="0" dirty="0">
                <a:ln>
                  <a:noFill/>
                </a:ln>
                <a:solidFill>
                  <a:srgbClr val="FFFFFF"/>
                </a:solidFill>
                <a:effectLst/>
                <a:uLnTx/>
                <a:uFillTx/>
                <a:latin typeface="Verdana"/>
                <a:ea typeface="+mn-ea"/>
                <a:cs typeface="Verdana"/>
              </a:rPr>
              <a:t>C</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60" normalizeH="0" baseline="0" noProof="0" dirty="0">
                <a:ln>
                  <a:noFill/>
                </a:ln>
                <a:solidFill>
                  <a:srgbClr val="FFFFFF"/>
                </a:solidFill>
                <a:effectLst/>
                <a:uLnTx/>
                <a:uFillTx/>
                <a:latin typeface="Verdana"/>
                <a:ea typeface="+mn-ea"/>
                <a:cs typeface="Verdana"/>
              </a:rPr>
              <a:t>H</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30" normalizeH="0" baseline="0" noProof="0" dirty="0">
                <a:ln>
                  <a:noFill/>
                </a:ln>
                <a:solidFill>
                  <a:srgbClr val="FFFFFF"/>
                </a:solidFill>
                <a:effectLst/>
                <a:uLnTx/>
                <a:uFillTx/>
                <a:latin typeface="Verdana"/>
                <a:ea typeface="+mn-ea"/>
                <a:cs typeface="Verdana"/>
              </a:rPr>
              <a:t>A</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290" normalizeH="0" baseline="0" noProof="0" dirty="0">
                <a:ln>
                  <a:noFill/>
                </a:ln>
                <a:solidFill>
                  <a:srgbClr val="FFFFFF"/>
                </a:solidFill>
                <a:effectLst/>
                <a:uLnTx/>
                <a:uFillTx/>
                <a:latin typeface="Verdana"/>
                <a:ea typeface="+mn-ea"/>
                <a:cs typeface="Verdana"/>
              </a:rPr>
              <a:t>I</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175" normalizeH="0" baseline="0" noProof="0" dirty="0">
                <a:ln>
                  <a:noFill/>
                </a:ln>
                <a:solidFill>
                  <a:srgbClr val="FFFFFF"/>
                </a:solidFill>
                <a:effectLst/>
                <a:uLnTx/>
                <a:uFillTx/>
                <a:latin typeface="Verdana"/>
                <a:ea typeface="+mn-ea"/>
                <a:cs typeface="Verdana"/>
              </a:rPr>
              <a:t>R</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40" normalizeH="0" baseline="0" noProof="0" dirty="0">
                <a:ln>
                  <a:noFill/>
                </a:ln>
                <a:solidFill>
                  <a:srgbClr val="FFFFFF"/>
                </a:solidFill>
                <a:effectLst/>
                <a:uLnTx/>
                <a:uFillTx/>
                <a:latin typeface="Verdana"/>
                <a:ea typeface="+mn-ea"/>
                <a:cs typeface="Verdana"/>
              </a:rPr>
              <a:t>P</a:t>
            </a:r>
            <a:r>
              <a:rPr kumimoji="0" sz="1800" b="0" i="0" u="none" strike="noStrike" kern="1200" cap="none" spc="-350" normalizeH="0" baseline="0" noProof="0" dirty="0">
                <a:ln>
                  <a:noFill/>
                </a:ln>
                <a:solidFill>
                  <a:srgbClr val="FFFFFF"/>
                </a:solidFill>
                <a:effectLst/>
                <a:uLnTx/>
                <a:uFillTx/>
                <a:latin typeface="Verdana"/>
                <a:ea typeface="+mn-ea"/>
                <a:cs typeface="Verdana"/>
              </a:rPr>
              <a:t> </a:t>
            </a:r>
            <a:r>
              <a:rPr kumimoji="0" sz="1800" b="0" i="0" u="none" strike="noStrike" kern="1200" cap="none" spc="-75" normalizeH="0" baseline="0" noProof="0" dirty="0">
                <a:ln>
                  <a:noFill/>
                </a:ln>
                <a:solidFill>
                  <a:srgbClr val="FFFFFF"/>
                </a:solidFill>
                <a:effectLst/>
                <a:uLnTx/>
                <a:uFillTx/>
                <a:latin typeface="Verdana"/>
                <a:ea typeface="+mn-ea"/>
                <a:cs typeface="Verdana"/>
              </a:rPr>
              <a:t>E</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175" normalizeH="0" baseline="0" noProof="0" dirty="0">
                <a:ln>
                  <a:noFill/>
                </a:ln>
                <a:solidFill>
                  <a:srgbClr val="FFFFFF"/>
                </a:solidFill>
                <a:effectLst/>
                <a:uLnTx/>
                <a:uFillTx/>
                <a:latin typeface="Verdana"/>
                <a:ea typeface="+mn-ea"/>
                <a:cs typeface="Verdana"/>
              </a:rPr>
              <a:t>R</a:t>
            </a:r>
            <a:r>
              <a:rPr kumimoji="0" sz="1800" b="0" i="0" u="none" strike="noStrike" kern="1200" cap="none" spc="-360" normalizeH="0" baseline="0" noProof="0" dirty="0">
                <a:ln>
                  <a:noFill/>
                </a:ln>
                <a:solidFill>
                  <a:srgbClr val="FFFFFF"/>
                </a:solidFill>
                <a:effectLst/>
                <a:uLnTx/>
                <a:uFillTx/>
                <a:latin typeface="Verdana"/>
                <a:ea typeface="+mn-ea"/>
                <a:cs typeface="Verdana"/>
              </a:rPr>
              <a:t> </a:t>
            </a:r>
            <a:r>
              <a:rPr kumimoji="0" sz="1800" b="0" i="0" u="none" strike="noStrike" kern="1200" cap="none" spc="-215" normalizeH="0" baseline="0" noProof="0" dirty="0">
                <a:ln>
                  <a:noFill/>
                </a:ln>
                <a:solidFill>
                  <a:srgbClr val="FFFFFF"/>
                </a:solidFill>
                <a:effectLst/>
                <a:uLnTx/>
                <a:uFillTx/>
                <a:latin typeface="Verdana"/>
                <a:ea typeface="+mn-ea"/>
                <a:cs typeface="Verdana"/>
              </a:rPr>
              <a:t>S</a:t>
            </a:r>
            <a:r>
              <a:rPr kumimoji="0" sz="1800" b="0" i="0" u="none" strike="noStrike" kern="1200" cap="none" spc="-345" normalizeH="0" baseline="0" noProof="0" dirty="0">
                <a:ln>
                  <a:noFill/>
                </a:ln>
                <a:solidFill>
                  <a:srgbClr val="FFFFFF"/>
                </a:solidFill>
                <a:effectLst/>
                <a:uLnTx/>
                <a:uFillTx/>
                <a:latin typeface="Verdana"/>
                <a:ea typeface="+mn-ea"/>
                <a:cs typeface="Verdana"/>
              </a:rPr>
              <a:t> </a:t>
            </a:r>
            <a:r>
              <a:rPr kumimoji="0" sz="1800" b="0" i="0" u="none" strike="noStrike" kern="1200" cap="none" spc="114" normalizeH="0" baseline="0" noProof="0" dirty="0">
                <a:ln>
                  <a:noFill/>
                </a:ln>
                <a:solidFill>
                  <a:srgbClr val="FFFFFF"/>
                </a:solidFill>
                <a:effectLst/>
                <a:uLnTx/>
                <a:uFillTx/>
                <a:latin typeface="Verdana"/>
                <a:ea typeface="+mn-ea"/>
                <a:cs typeface="Verdana"/>
              </a:rPr>
              <a:t>O</a:t>
            </a:r>
            <a:r>
              <a:rPr kumimoji="0" sz="1800" b="0" i="0" u="none" strike="noStrike" kern="1200" cap="none" spc="-350" normalizeH="0" baseline="0" noProof="0" dirty="0">
                <a:ln>
                  <a:noFill/>
                </a:ln>
                <a:solidFill>
                  <a:srgbClr val="FFFFFF"/>
                </a:solidFill>
                <a:effectLst/>
                <a:uLnTx/>
                <a:uFillTx/>
                <a:latin typeface="Verdana"/>
                <a:ea typeface="+mn-ea"/>
                <a:cs typeface="Verdana"/>
              </a:rPr>
              <a:t> </a:t>
            </a:r>
            <a:r>
              <a:rPr kumimoji="0" sz="1800" b="0" i="0" u="none" strike="noStrike" kern="1200" cap="none" spc="30" normalizeH="0" baseline="0" noProof="0" dirty="0">
                <a:ln>
                  <a:noFill/>
                </a:ln>
                <a:solidFill>
                  <a:srgbClr val="FFFFFF"/>
                </a:solidFill>
                <a:effectLst/>
                <a:uLnTx/>
                <a:uFillTx/>
                <a:latin typeface="Verdana"/>
                <a:ea typeface="+mn-ea"/>
                <a:cs typeface="Verdana"/>
              </a:rPr>
              <a:t>N</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0" marR="5080" lvl="0" indent="0" algn="r" defTabSz="914400" rtl="0" eaLnBrk="1" fontAlgn="auto" latinLnBrk="0" hangingPunct="1">
              <a:lnSpc>
                <a:spcPct val="100000"/>
              </a:lnSpc>
              <a:spcBef>
                <a:spcPts val="1320"/>
              </a:spcBef>
              <a:spcAft>
                <a:spcPts val="0"/>
              </a:spcAft>
              <a:buClrTx/>
              <a:buSzTx/>
              <a:buFontTx/>
              <a:buNone/>
              <a:tabLst>
                <a:tab pos="610870" algn="l"/>
                <a:tab pos="1493520" algn="l"/>
                <a:tab pos="3054350" algn="l"/>
              </a:tabLst>
              <a:defRPr/>
            </a:pPr>
            <a:r>
              <a:rPr kumimoji="0" sz="1800" b="0" i="0" u="none" strike="noStrike" kern="1200" cap="none" spc="-220" normalizeH="0" baseline="0" noProof="0" dirty="0">
                <a:ln>
                  <a:noFill/>
                </a:ln>
                <a:solidFill>
                  <a:srgbClr val="FFFFFF"/>
                </a:solidFill>
                <a:effectLst/>
                <a:uLnTx/>
                <a:uFillTx/>
                <a:latin typeface="Verdana"/>
                <a:ea typeface="+mn-ea"/>
                <a:cs typeface="Verdana"/>
              </a:rPr>
              <a:t>S</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90" normalizeH="0" baseline="0" noProof="0" dirty="0">
                <a:ln>
                  <a:noFill/>
                </a:ln>
                <a:solidFill>
                  <a:srgbClr val="FFFFFF"/>
                </a:solidFill>
                <a:effectLst/>
                <a:uLnTx/>
                <a:uFillTx/>
                <a:latin typeface="Verdana"/>
                <a:ea typeface="+mn-ea"/>
                <a:cs typeface="Verdana"/>
              </a:rPr>
              <a:t>B</a:t>
            </a:r>
            <a:r>
              <a:rPr kumimoji="0" sz="1800" b="0" i="0" u="none" strike="noStrike" kern="1200" cap="none" spc="-320" normalizeH="0" baseline="0" noProof="0" dirty="0">
                <a:ln>
                  <a:noFill/>
                </a:ln>
                <a:solidFill>
                  <a:srgbClr val="FFFFFF"/>
                </a:solidFill>
                <a:effectLst/>
                <a:uLnTx/>
                <a:uFillTx/>
                <a:latin typeface="Verdana"/>
                <a:ea typeface="+mn-ea"/>
                <a:cs typeface="Verdana"/>
              </a:rPr>
              <a:t> </a:t>
            </a:r>
            <a:r>
              <a:rPr kumimoji="0" sz="1800" b="0" i="0" u="none" strike="noStrike" kern="1200" cap="none" spc="-25" normalizeH="0" baseline="0" noProof="0" dirty="0">
                <a:ln>
                  <a:noFill/>
                </a:ln>
                <a:solidFill>
                  <a:srgbClr val="FFFFFF"/>
                </a:solidFill>
                <a:effectLst/>
                <a:uLnTx/>
                <a:uFillTx/>
                <a:latin typeface="Verdana"/>
                <a:ea typeface="+mn-ea"/>
                <a:cs typeface="Verdana"/>
              </a:rPr>
              <a:t>F	</a:t>
            </a:r>
            <a:r>
              <a:rPr kumimoji="0" sz="1800" b="0" i="0" u="none" strike="noStrike" kern="1200" cap="none" spc="-220" normalizeH="0" baseline="0" noProof="0" dirty="0">
                <a:ln>
                  <a:noFill/>
                </a:ln>
                <a:solidFill>
                  <a:srgbClr val="FFFFFF"/>
                </a:solidFill>
                <a:effectLst/>
                <a:uLnTx/>
                <a:uFillTx/>
                <a:latin typeface="Verdana"/>
                <a:ea typeface="+mn-ea"/>
                <a:cs typeface="Verdana"/>
              </a:rPr>
              <a:t>S </a:t>
            </a:r>
            <a:r>
              <a:rPr kumimoji="0" sz="1800" b="0" i="0" u="none" strike="noStrike" kern="1200" cap="none" spc="75" normalizeH="0" baseline="0" noProof="0" dirty="0">
                <a:ln>
                  <a:noFill/>
                </a:ln>
                <a:solidFill>
                  <a:srgbClr val="FFFFFF"/>
                </a:solidFill>
                <a:effectLst/>
                <a:uLnTx/>
                <a:uFillTx/>
                <a:latin typeface="Verdana"/>
                <a:ea typeface="+mn-ea"/>
                <a:cs typeface="Verdana"/>
              </a:rPr>
              <a:t>M</a:t>
            </a:r>
            <a:r>
              <a:rPr kumimoji="0" sz="1800" b="0" i="0" u="none" strike="noStrike" kern="1200" cap="none" spc="-445" normalizeH="0" baseline="0" noProof="0" dirty="0">
                <a:ln>
                  <a:noFill/>
                </a:ln>
                <a:solidFill>
                  <a:srgbClr val="FFFFFF"/>
                </a:solidFill>
                <a:effectLst/>
                <a:uLnTx/>
                <a:uFillTx/>
                <a:latin typeface="Verdana"/>
                <a:ea typeface="+mn-ea"/>
                <a:cs typeface="Verdana"/>
              </a:rPr>
              <a:t> </a:t>
            </a:r>
            <a:r>
              <a:rPr kumimoji="0" sz="1800" b="0" i="0" u="none" strike="noStrike" kern="1200" cap="none" spc="-75" normalizeH="0" baseline="0" noProof="0" dirty="0">
                <a:ln>
                  <a:noFill/>
                </a:ln>
                <a:solidFill>
                  <a:srgbClr val="FFFFFF"/>
                </a:solidFill>
                <a:effectLst/>
                <a:uLnTx/>
                <a:uFillTx/>
                <a:latin typeface="Verdana"/>
                <a:ea typeface="+mn-ea"/>
                <a:cs typeface="Verdana"/>
              </a:rPr>
              <a:t>E</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35" normalizeH="0" baseline="0" noProof="0" dirty="0">
                <a:ln>
                  <a:noFill/>
                </a:ln>
                <a:solidFill>
                  <a:srgbClr val="FFFFFF"/>
                </a:solidFill>
                <a:effectLst/>
                <a:uLnTx/>
                <a:uFillTx/>
                <a:latin typeface="Verdana"/>
                <a:ea typeface="+mn-ea"/>
                <a:cs typeface="Verdana"/>
              </a:rPr>
              <a:t>C	</a:t>
            </a:r>
            <a:r>
              <a:rPr kumimoji="0" sz="1800" b="0" i="0" u="none" strike="noStrike" kern="1200" cap="none" spc="-220" normalizeH="0" baseline="0" noProof="0" dirty="0">
                <a:ln>
                  <a:noFill/>
                </a:ln>
                <a:solidFill>
                  <a:srgbClr val="FFFFFF"/>
                </a:solidFill>
                <a:effectLst/>
                <a:uLnTx/>
                <a:uFillTx/>
                <a:latin typeface="Verdana"/>
                <a:ea typeface="+mn-ea"/>
                <a:cs typeface="Verdana"/>
              </a:rPr>
              <a:t>S</a:t>
            </a:r>
            <a:r>
              <a:rPr kumimoji="0" sz="1800" b="0" i="0" u="none" strike="noStrike" kern="1200" cap="none" spc="-330" normalizeH="0" baseline="0" noProof="0" dirty="0">
                <a:ln>
                  <a:noFill/>
                </a:ln>
                <a:solidFill>
                  <a:srgbClr val="FFFFFF"/>
                </a:solidFill>
                <a:effectLst/>
                <a:uLnTx/>
                <a:uFillTx/>
                <a:latin typeface="Verdana"/>
                <a:ea typeface="+mn-ea"/>
                <a:cs typeface="Verdana"/>
              </a:rPr>
              <a:t> </a:t>
            </a:r>
            <a:r>
              <a:rPr kumimoji="0" sz="1800" b="0" i="0" u="none" strike="noStrike" kern="1200" cap="none" spc="-40" normalizeH="0" baseline="0" noProof="0" dirty="0">
                <a:ln>
                  <a:noFill/>
                </a:ln>
                <a:solidFill>
                  <a:srgbClr val="FFFFFF"/>
                </a:solidFill>
                <a:effectLst/>
                <a:uLnTx/>
                <a:uFillTx/>
                <a:latin typeface="Verdana"/>
                <a:ea typeface="+mn-ea"/>
                <a:cs typeface="Verdana"/>
              </a:rPr>
              <a:t>U</a:t>
            </a:r>
            <a:r>
              <a:rPr kumimoji="0" sz="1800" b="0" i="0" u="none" strike="noStrike" kern="1200" cap="none" spc="-330" normalizeH="0" baseline="0" noProof="0" dirty="0">
                <a:ln>
                  <a:noFill/>
                </a:ln>
                <a:solidFill>
                  <a:srgbClr val="FFFFFF"/>
                </a:solidFill>
                <a:effectLst/>
                <a:uLnTx/>
                <a:uFillTx/>
                <a:latin typeface="Verdana"/>
                <a:ea typeface="+mn-ea"/>
                <a:cs typeface="Verdana"/>
              </a:rPr>
              <a:t> </a:t>
            </a:r>
            <a:r>
              <a:rPr kumimoji="0" sz="1800" b="0" i="0" u="none" strike="noStrike" kern="1200" cap="none" spc="-90" normalizeH="0" baseline="0" noProof="0" dirty="0">
                <a:ln>
                  <a:noFill/>
                </a:ln>
                <a:solidFill>
                  <a:srgbClr val="FFFFFF"/>
                </a:solidFill>
                <a:effectLst/>
                <a:uLnTx/>
                <a:uFillTx/>
                <a:latin typeface="Verdana"/>
                <a:ea typeface="+mn-ea"/>
                <a:cs typeface="Verdana"/>
              </a:rPr>
              <a:t>B</a:t>
            </a:r>
            <a:r>
              <a:rPr kumimoji="0" sz="1800" b="0" i="0" u="none" strike="noStrike" kern="1200" cap="none" spc="-315" normalizeH="0" baseline="0" noProof="0" dirty="0">
                <a:ln>
                  <a:noFill/>
                </a:ln>
                <a:solidFill>
                  <a:srgbClr val="FFFFFF"/>
                </a:solidFill>
                <a:effectLst/>
                <a:uLnTx/>
                <a:uFillTx/>
                <a:latin typeface="Verdana"/>
                <a:ea typeface="+mn-ea"/>
                <a:cs typeface="Verdana"/>
              </a:rPr>
              <a:t> </a:t>
            </a:r>
            <a:r>
              <a:rPr kumimoji="0" sz="1800" b="0" i="0" u="none" strike="noStrike" kern="1200" cap="none" spc="35" normalizeH="0" baseline="0" noProof="0" dirty="0">
                <a:ln>
                  <a:noFill/>
                </a:ln>
                <a:solidFill>
                  <a:srgbClr val="FFFFFF"/>
                </a:solidFill>
                <a:effectLst/>
                <a:uLnTx/>
                <a:uFillTx/>
                <a:latin typeface="Verdana"/>
                <a:ea typeface="+mn-ea"/>
                <a:cs typeface="Verdana"/>
              </a:rPr>
              <a:t>C</a:t>
            </a:r>
            <a:r>
              <a:rPr kumimoji="0" sz="1800" b="0" i="0" u="none" strike="noStrike" kern="1200" cap="none" spc="-350" normalizeH="0" baseline="0" noProof="0" dirty="0">
                <a:ln>
                  <a:noFill/>
                </a:ln>
                <a:solidFill>
                  <a:srgbClr val="FFFFFF"/>
                </a:solidFill>
                <a:effectLst/>
                <a:uLnTx/>
                <a:uFillTx/>
                <a:latin typeface="Verdana"/>
                <a:ea typeface="+mn-ea"/>
                <a:cs typeface="Verdana"/>
              </a:rPr>
              <a:t> </a:t>
            </a:r>
            <a:r>
              <a:rPr kumimoji="0" sz="1800" b="0" i="0" u="none" strike="noStrike" kern="1200" cap="none" spc="110" normalizeH="0" baseline="0" noProof="0" dirty="0">
                <a:ln>
                  <a:noFill/>
                </a:ln>
                <a:solidFill>
                  <a:srgbClr val="FFFFFF"/>
                </a:solidFill>
                <a:effectLst/>
                <a:uLnTx/>
                <a:uFillTx/>
                <a:latin typeface="Verdana"/>
                <a:ea typeface="+mn-ea"/>
                <a:cs typeface="Verdana"/>
              </a:rPr>
              <a:t>O</a:t>
            </a:r>
            <a:r>
              <a:rPr kumimoji="0" sz="1800" b="0" i="0" u="none" strike="noStrike" kern="1200" cap="none" spc="-315" normalizeH="0" baseline="0" noProof="0" dirty="0">
                <a:ln>
                  <a:noFill/>
                </a:ln>
                <a:solidFill>
                  <a:srgbClr val="FFFFFF"/>
                </a:solidFill>
                <a:effectLst/>
                <a:uLnTx/>
                <a:uFillTx/>
                <a:latin typeface="Verdana"/>
                <a:ea typeface="+mn-ea"/>
                <a:cs typeface="Verdana"/>
              </a:rPr>
              <a:t> </a:t>
            </a:r>
            <a:r>
              <a:rPr kumimoji="0" sz="1800" b="0" i="0" u="none" strike="noStrike" kern="1200" cap="none" spc="75" normalizeH="0" baseline="0" noProof="0" dirty="0">
                <a:ln>
                  <a:noFill/>
                </a:ln>
                <a:solidFill>
                  <a:srgbClr val="FFFFFF"/>
                </a:solidFill>
                <a:effectLst/>
                <a:uLnTx/>
                <a:uFillTx/>
                <a:latin typeface="Verdana"/>
                <a:ea typeface="+mn-ea"/>
                <a:cs typeface="Verdana"/>
              </a:rPr>
              <a:t>M</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75" normalizeH="0" baseline="0" noProof="0" dirty="0">
                <a:ln>
                  <a:noFill/>
                </a:ln>
                <a:solidFill>
                  <a:srgbClr val="FFFFFF"/>
                </a:solidFill>
                <a:effectLst/>
                <a:uLnTx/>
                <a:uFillTx/>
                <a:latin typeface="Verdana"/>
                <a:ea typeface="+mn-ea"/>
                <a:cs typeface="Verdana"/>
              </a:rPr>
              <a:t>M	</a:t>
            </a:r>
            <a:r>
              <a:rPr kumimoji="0" sz="1800" b="0" i="0" u="none" strike="noStrike" kern="1200" cap="none" spc="-25" normalizeH="0" baseline="0" noProof="0" dirty="0">
                <a:ln>
                  <a:noFill/>
                </a:ln>
                <a:solidFill>
                  <a:srgbClr val="FFFFFF"/>
                </a:solidFill>
                <a:effectLst/>
                <a:uLnTx/>
                <a:uFillTx/>
                <a:latin typeface="Verdana"/>
                <a:ea typeface="+mn-ea"/>
                <a:cs typeface="Verdana"/>
              </a:rPr>
              <a:t>F</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110" normalizeH="0" baseline="0" noProof="0" dirty="0">
                <a:ln>
                  <a:noFill/>
                </a:ln>
                <a:solidFill>
                  <a:srgbClr val="FFFFFF"/>
                </a:solidFill>
                <a:effectLst/>
                <a:uLnTx/>
                <a:uFillTx/>
                <a:latin typeface="Verdana"/>
                <a:ea typeface="+mn-ea"/>
                <a:cs typeface="Verdana"/>
              </a:rPr>
              <a:t>O</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175" normalizeH="0" baseline="0" noProof="0" dirty="0">
                <a:ln>
                  <a:noFill/>
                </a:ln>
                <a:solidFill>
                  <a:srgbClr val="FFFFFF"/>
                </a:solidFill>
                <a:effectLst/>
                <a:uLnTx/>
                <a:uFillTx/>
                <a:latin typeface="Verdana"/>
                <a:ea typeface="+mn-ea"/>
                <a:cs typeface="Verdana"/>
              </a:rPr>
              <a:t>R </a:t>
            </a:r>
            <a:r>
              <a:rPr kumimoji="0" sz="1800" b="0" i="0" u="none" strike="noStrike" kern="1200" cap="none" spc="-150" normalizeH="0" baseline="0" noProof="0" dirty="0">
                <a:ln>
                  <a:noFill/>
                </a:ln>
                <a:solidFill>
                  <a:srgbClr val="FFFFFF"/>
                </a:solidFill>
                <a:effectLst/>
                <a:uLnTx/>
                <a:uFillTx/>
                <a:latin typeface="Verdana"/>
                <a:ea typeface="+mn-ea"/>
                <a:cs typeface="Verdana"/>
              </a:rPr>
              <a:t> </a:t>
            </a:r>
            <a:r>
              <a:rPr kumimoji="0" sz="1800" b="0" i="0" u="none" strike="noStrike" kern="1200" cap="none" spc="-85" normalizeH="0" baseline="0" noProof="0" dirty="0">
                <a:ln>
                  <a:noFill/>
                </a:ln>
                <a:solidFill>
                  <a:srgbClr val="FFFFFF"/>
                </a:solidFill>
                <a:effectLst/>
                <a:uLnTx/>
                <a:uFillTx/>
                <a:latin typeface="Verdana"/>
                <a:ea typeface="+mn-ea"/>
                <a:cs typeface="Verdana"/>
              </a:rPr>
              <a:t>T</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75" normalizeH="0" baseline="0" noProof="0" dirty="0">
                <a:ln>
                  <a:noFill/>
                </a:ln>
                <a:solidFill>
                  <a:srgbClr val="FFFFFF"/>
                </a:solidFill>
                <a:effectLst/>
                <a:uLnTx/>
                <a:uFillTx/>
                <a:latin typeface="Verdana"/>
                <a:ea typeface="+mn-ea"/>
                <a:cs typeface="Verdana"/>
              </a:rPr>
              <a:t>E</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35" normalizeH="0" baseline="0" noProof="0" dirty="0">
                <a:ln>
                  <a:noFill/>
                </a:ln>
                <a:solidFill>
                  <a:srgbClr val="FFFFFF"/>
                </a:solidFill>
                <a:effectLst/>
                <a:uLnTx/>
                <a:uFillTx/>
                <a:latin typeface="Verdana"/>
                <a:ea typeface="+mn-ea"/>
                <a:cs typeface="Verdana"/>
              </a:rPr>
              <a:t>C</a:t>
            </a:r>
            <a:r>
              <a:rPr kumimoji="0" sz="1800" b="0" i="0" u="none" strike="noStrike" kern="1200" cap="none" spc="-330" normalizeH="0" baseline="0" noProof="0" dirty="0">
                <a:ln>
                  <a:noFill/>
                </a:ln>
                <a:solidFill>
                  <a:srgbClr val="FFFFFF"/>
                </a:solidFill>
                <a:effectLst/>
                <a:uLnTx/>
                <a:uFillTx/>
                <a:latin typeface="Verdana"/>
                <a:ea typeface="+mn-ea"/>
                <a:cs typeface="Verdana"/>
              </a:rPr>
              <a:t> </a:t>
            </a:r>
            <a:r>
              <a:rPr kumimoji="0" sz="1800" b="0" i="0" u="none" strike="noStrike" kern="1200" cap="none" spc="-65" normalizeH="0" baseline="0" noProof="0" dirty="0">
                <a:ln>
                  <a:noFill/>
                </a:ln>
                <a:solidFill>
                  <a:srgbClr val="FFFFFF"/>
                </a:solidFill>
                <a:effectLst/>
                <a:uLnTx/>
                <a:uFillTx/>
                <a:latin typeface="Verdana"/>
                <a:ea typeface="+mn-ea"/>
                <a:cs typeface="Verdana"/>
              </a:rPr>
              <a:t>H</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25" normalizeH="0" baseline="0" noProof="0" dirty="0">
                <a:ln>
                  <a:noFill/>
                </a:ln>
                <a:solidFill>
                  <a:srgbClr val="FFFFFF"/>
                </a:solidFill>
                <a:effectLst/>
                <a:uLnTx/>
                <a:uFillTx/>
                <a:latin typeface="Verdana"/>
                <a:ea typeface="+mn-ea"/>
                <a:cs typeface="Verdana"/>
              </a:rPr>
              <a:t>N</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110" normalizeH="0" baseline="0" noProof="0" dirty="0">
                <a:ln>
                  <a:noFill/>
                </a:ln>
                <a:solidFill>
                  <a:srgbClr val="FFFFFF"/>
                </a:solidFill>
                <a:effectLst/>
                <a:uLnTx/>
                <a:uFillTx/>
                <a:latin typeface="Verdana"/>
                <a:ea typeface="+mn-ea"/>
                <a:cs typeface="Verdana"/>
              </a:rPr>
              <a:t>O</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85" normalizeH="0" baseline="0" noProof="0" dirty="0">
                <a:ln>
                  <a:noFill/>
                </a:ln>
                <a:solidFill>
                  <a:srgbClr val="FFFFFF"/>
                </a:solidFill>
                <a:effectLst/>
                <a:uLnTx/>
                <a:uFillTx/>
                <a:latin typeface="Verdana"/>
                <a:ea typeface="+mn-ea"/>
                <a:cs typeface="Verdana"/>
              </a:rPr>
              <a:t>L</a:t>
            </a:r>
            <a:r>
              <a:rPr kumimoji="0" sz="1800" b="0" i="0" u="none" strike="noStrike" kern="1200" cap="none" spc="-409" normalizeH="0" baseline="0" noProof="0" dirty="0">
                <a:ln>
                  <a:noFill/>
                </a:ln>
                <a:solidFill>
                  <a:srgbClr val="FFFFFF"/>
                </a:solidFill>
                <a:effectLst/>
                <a:uLnTx/>
                <a:uFillTx/>
                <a:latin typeface="Verdana"/>
                <a:ea typeface="+mn-ea"/>
                <a:cs typeface="Verdana"/>
              </a:rPr>
              <a:t> </a:t>
            </a:r>
            <a:r>
              <a:rPr kumimoji="0" sz="1800" b="0" i="0" u="none" strike="noStrike" kern="1200" cap="none" spc="110" normalizeH="0" baseline="0" noProof="0" dirty="0">
                <a:ln>
                  <a:noFill/>
                </a:ln>
                <a:solidFill>
                  <a:srgbClr val="FFFFFF"/>
                </a:solidFill>
                <a:effectLst/>
                <a:uLnTx/>
                <a:uFillTx/>
                <a:latin typeface="Verdana"/>
                <a:ea typeface="+mn-ea"/>
                <a:cs typeface="Verdana"/>
              </a:rPr>
              <a:t>O</a:t>
            </a:r>
            <a:r>
              <a:rPr kumimoji="0" sz="1800" b="0" i="0" u="none" strike="noStrike" kern="1200" cap="none" spc="-350" normalizeH="0" baseline="0" noProof="0" dirty="0">
                <a:ln>
                  <a:noFill/>
                </a:ln>
                <a:solidFill>
                  <a:srgbClr val="FFFFFF"/>
                </a:solidFill>
                <a:effectLst/>
                <a:uLnTx/>
                <a:uFillTx/>
                <a:latin typeface="Verdana"/>
                <a:ea typeface="+mn-ea"/>
                <a:cs typeface="Verdana"/>
              </a:rPr>
              <a:t> </a:t>
            </a:r>
            <a:r>
              <a:rPr kumimoji="0" sz="1800" b="0" i="0" u="none" strike="noStrike" kern="1200" cap="none" spc="50" normalizeH="0" baseline="0" noProof="0" dirty="0">
                <a:ln>
                  <a:noFill/>
                </a:ln>
                <a:solidFill>
                  <a:srgbClr val="FFFFFF"/>
                </a:solidFill>
                <a:effectLst/>
                <a:uLnTx/>
                <a:uFillTx/>
                <a:latin typeface="Verdana"/>
                <a:ea typeface="+mn-ea"/>
                <a:cs typeface="Verdana"/>
              </a:rPr>
              <a:t>GY,</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0" marR="13970" lvl="0" indent="0" algn="r" defTabSz="914400" rtl="0" eaLnBrk="1" fontAlgn="auto" latinLnBrk="0" hangingPunct="1">
              <a:lnSpc>
                <a:spcPct val="100000"/>
              </a:lnSpc>
              <a:spcBef>
                <a:spcPts val="315"/>
              </a:spcBef>
              <a:spcAft>
                <a:spcPts val="0"/>
              </a:spcAft>
              <a:buClrTx/>
              <a:buSzTx/>
              <a:buFontTx/>
              <a:buNone/>
              <a:tabLst>
                <a:tab pos="2205990" algn="l"/>
              </a:tabLst>
              <a:defRPr/>
            </a:pPr>
            <a:r>
              <a:rPr kumimoji="0" sz="1800" b="0" i="0" u="none" strike="noStrike" kern="1200" cap="none" spc="-290" normalizeH="0" baseline="0" noProof="0" dirty="0">
                <a:ln>
                  <a:noFill/>
                </a:ln>
                <a:solidFill>
                  <a:srgbClr val="FFFFFF"/>
                </a:solidFill>
                <a:effectLst/>
                <a:uLnTx/>
                <a:uFillTx/>
                <a:latin typeface="Verdana"/>
                <a:ea typeface="+mn-ea"/>
                <a:cs typeface="Verdana"/>
              </a:rPr>
              <a:t>I</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30" normalizeH="0" baseline="0" noProof="0" dirty="0">
                <a:ln>
                  <a:noFill/>
                </a:ln>
                <a:solidFill>
                  <a:srgbClr val="FFFFFF"/>
                </a:solidFill>
                <a:effectLst/>
                <a:uLnTx/>
                <a:uFillTx/>
                <a:latin typeface="Verdana"/>
                <a:ea typeface="+mn-ea"/>
                <a:cs typeface="Verdana"/>
              </a:rPr>
              <a:t>N</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30" normalizeH="0" baseline="0" noProof="0" dirty="0">
                <a:ln>
                  <a:noFill/>
                </a:ln>
                <a:solidFill>
                  <a:srgbClr val="FFFFFF"/>
                </a:solidFill>
                <a:effectLst/>
                <a:uLnTx/>
                <a:uFillTx/>
                <a:latin typeface="Verdana"/>
                <a:ea typeface="+mn-ea"/>
                <a:cs typeface="Verdana"/>
              </a:rPr>
              <a:t>N</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114" normalizeH="0" baseline="0" noProof="0" dirty="0">
                <a:ln>
                  <a:noFill/>
                </a:ln>
                <a:solidFill>
                  <a:srgbClr val="FFFFFF"/>
                </a:solidFill>
                <a:effectLst/>
                <a:uLnTx/>
                <a:uFillTx/>
                <a:latin typeface="Verdana"/>
                <a:ea typeface="+mn-ea"/>
                <a:cs typeface="Verdana"/>
              </a:rPr>
              <a:t>O</a:t>
            </a:r>
            <a:r>
              <a:rPr kumimoji="0" sz="1800" b="0" i="0" u="none" strike="noStrike" kern="1200" cap="none" spc="-345" normalizeH="0" baseline="0" noProof="0" dirty="0">
                <a:ln>
                  <a:noFill/>
                </a:ln>
                <a:solidFill>
                  <a:srgbClr val="FFFFFF"/>
                </a:solidFill>
                <a:effectLst/>
                <a:uLnTx/>
                <a:uFillTx/>
                <a:latin typeface="Verdana"/>
                <a:ea typeface="+mn-ea"/>
                <a:cs typeface="Verdana"/>
              </a:rPr>
              <a:t> </a:t>
            </a:r>
            <a:r>
              <a:rPr kumimoji="0" sz="1800" b="0" i="0" u="none" strike="noStrike" kern="1200" cap="none" spc="-110" normalizeH="0" baseline="0" noProof="0" dirty="0">
                <a:ln>
                  <a:noFill/>
                </a:ln>
                <a:solidFill>
                  <a:srgbClr val="FFFFFF"/>
                </a:solidFill>
                <a:effectLst/>
                <a:uLnTx/>
                <a:uFillTx/>
                <a:latin typeface="Verdana"/>
                <a:ea typeface="+mn-ea"/>
                <a:cs typeface="Verdana"/>
              </a:rPr>
              <a:t>V</a:t>
            </a:r>
            <a:r>
              <a:rPr kumimoji="0" sz="1800" b="0" i="0" u="none" strike="noStrike" kern="1200" cap="none" spc="-370" normalizeH="0" baseline="0" noProof="0" dirty="0">
                <a:ln>
                  <a:noFill/>
                </a:ln>
                <a:solidFill>
                  <a:srgbClr val="FFFFFF"/>
                </a:solidFill>
                <a:effectLst/>
                <a:uLnTx/>
                <a:uFillTx/>
                <a:latin typeface="Verdana"/>
                <a:ea typeface="+mn-ea"/>
                <a:cs typeface="Verdana"/>
              </a:rPr>
              <a:t> </a:t>
            </a:r>
            <a:r>
              <a:rPr kumimoji="0" sz="1800" b="0" i="0" u="none" strike="noStrike" kern="1200" cap="none" spc="70" normalizeH="0" baseline="0" noProof="0" dirty="0">
                <a:ln>
                  <a:noFill/>
                </a:ln>
                <a:solidFill>
                  <a:srgbClr val="FFFFFF"/>
                </a:solidFill>
                <a:effectLst/>
                <a:uLnTx/>
                <a:uFillTx/>
                <a:latin typeface="Verdana"/>
                <a:ea typeface="+mn-ea"/>
                <a:cs typeface="Verdana"/>
              </a:rPr>
              <a:t>AT</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290" normalizeH="0" baseline="0" noProof="0" dirty="0">
                <a:ln>
                  <a:noFill/>
                </a:ln>
                <a:solidFill>
                  <a:srgbClr val="FFFFFF"/>
                </a:solidFill>
                <a:effectLst/>
                <a:uLnTx/>
                <a:uFillTx/>
                <a:latin typeface="Verdana"/>
                <a:ea typeface="+mn-ea"/>
                <a:cs typeface="Verdana"/>
              </a:rPr>
              <a:t>I</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114" normalizeH="0" baseline="0" noProof="0" dirty="0">
                <a:ln>
                  <a:noFill/>
                </a:ln>
                <a:solidFill>
                  <a:srgbClr val="FFFFFF"/>
                </a:solidFill>
                <a:effectLst/>
                <a:uLnTx/>
                <a:uFillTx/>
                <a:latin typeface="Verdana"/>
                <a:ea typeface="+mn-ea"/>
                <a:cs typeface="Verdana"/>
              </a:rPr>
              <a:t>O</a:t>
            </a:r>
            <a:r>
              <a:rPr kumimoji="0" sz="1800" b="0" i="0" u="none" strike="noStrike" kern="1200" cap="none" spc="-345" normalizeH="0" baseline="0" noProof="0" dirty="0">
                <a:ln>
                  <a:noFill/>
                </a:ln>
                <a:solidFill>
                  <a:srgbClr val="FFFFFF"/>
                </a:solidFill>
                <a:effectLst/>
                <a:uLnTx/>
                <a:uFillTx/>
                <a:latin typeface="Verdana"/>
                <a:ea typeface="+mn-ea"/>
                <a:cs typeface="Verdana"/>
              </a:rPr>
              <a:t> </a:t>
            </a:r>
            <a:r>
              <a:rPr kumimoji="0" sz="1800" b="0" i="0" u="none" strike="noStrike" kern="1200" cap="none" spc="30" normalizeH="0" baseline="0" noProof="0" dirty="0">
                <a:ln>
                  <a:noFill/>
                </a:ln>
                <a:solidFill>
                  <a:srgbClr val="FFFFFF"/>
                </a:solidFill>
                <a:effectLst/>
                <a:uLnTx/>
                <a:uFillTx/>
                <a:latin typeface="Verdana"/>
                <a:ea typeface="+mn-ea"/>
                <a:cs typeface="Verdana"/>
              </a:rPr>
              <a:t>N</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40" normalizeH="0" baseline="0" noProof="0" dirty="0">
                <a:ln>
                  <a:noFill/>
                </a:ln>
                <a:solidFill>
                  <a:srgbClr val="FFFFFF"/>
                </a:solidFill>
                <a:effectLst/>
                <a:uLnTx/>
                <a:uFillTx/>
                <a:latin typeface="Verdana"/>
                <a:ea typeface="+mn-ea"/>
                <a:cs typeface="Verdana"/>
              </a:rPr>
              <a:t>&amp;	P</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175" normalizeH="0" baseline="0" noProof="0" dirty="0">
                <a:ln>
                  <a:noFill/>
                </a:ln>
                <a:solidFill>
                  <a:srgbClr val="FFFFFF"/>
                </a:solidFill>
                <a:effectLst/>
                <a:uLnTx/>
                <a:uFillTx/>
                <a:latin typeface="Verdana"/>
                <a:ea typeface="+mn-ea"/>
                <a:cs typeface="Verdana"/>
              </a:rPr>
              <a:t>R</a:t>
            </a:r>
            <a:r>
              <a:rPr kumimoji="0" sz="1800" b="0" i="0" u="none" strike="noStrike" kern="1200" cap="none" spc="-330" normalizeH="0" baseline="0" noProof="0" dirty="0">
                <a:ln>
                  <a:noFill/>
                </a:ln>
                <a:solidFill>
                  <a:srgbClr val="FFFFFF"/>
                </a:solidFill>
                <a:effectLst/>
                <a:uLnTx/>
                <a:uFillTx/>
                <a:latin typeface="Verdana"/>
                <a:ea typeface="+mn-ea"/>
                <a:cs typeface="Verdana"/>
              </a:rPr>
              <a:t> </a:t>
            </a:r>
            <a:r>
              <a:rPr kumimoji="0" sz="1800" b="0" i="0" u="none" strike="noStrike" kern="1200" cap="none" spc="114" normalizeH="0" baseline="0" noProof="0" dirty="0">
                <a:ln>
                  <a:noFill/>
                </a:ln>
                <a:solidFill>
                  <a:srgbClr val="FFFFFF"/>
                </a:solidFill>
                <a:effectLst/>
                <a:uLnTx/>
                <a:uFillTx/>
                <a:latin typeface="Verdana"/>
                <a:ea typeface="+mn-ea"/>
                <a:cs typeface="Verdana"/>
              </a:rPr>
              <a:t>O</a:t>
            </a:r>
            <a:r>
              <a:rPr kumimoji="0" sz="1800" b="0" i="0" u="none" strike="noStrike" kern="1200" cap="none" spc="-330" normalizeH="0" baseline="0" noProof="0" dirty="0">
                <a:ln>
                  <a:noFill/>
                </a:ln>
                <a:solidFill>
                  <a:srgbClr val="FFFFFF"/>
                </a:solidFill>
                <a:effectLst/>
                <a:uLnTx/>
                <a:uFillTx/>
                <a:latin typeface="Verdana"/>
                <a:ea typeface="+mn-ea"/>
                <a:cs typeface="Verdana"/>
              </a:rPr>
              <a:t> </a:t>
            </a:r>
            <a:r>
              <a:rPr kumimoji="0" sz="1800" b="0" i="0" u="none" strike="noStrike" kern="1200" cap="none" spc="-25" normalizeH="0" baseline="0" noProof="0" dirty="0">
                <a:ln>
                  <a:noFill/>
                </a:ln>
                <a:solidFill>
                  <a:srgbClr val="FFFFFF"/>
                </a:solidFill>
                <a:effectLst/>
                <a:uLnTx/>
                <a:uFillTx/>
                <a:latin typeface="Verdana"/>
                <a:ea typeface="+mn-ea"/>
                <a:cs typeface="Verdana"/>
              </a:rPr>
              <a:t>D</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40" normalizeH="0" baseline="0" noProof="0" dirty="0">
                <a:ln>
                  <a:noFill/>
                </a:ln>
                <a:solidFill>
                  <a:srgbClr val="FFFFFF"/>
                </a:solidFill>
                <a:effectLst/>
                <a:uLnTx/>
                <a:uFillTx/>
                <a:latin typeface="Verdana"/>
                <a:ea typeface="+mn-ea"/>
                <a:cs typeface="Verdana"/>
              </a:rPr>
              <a:t>U</a:t>
            </a:r>
            <a:r>
              <a:rPr kumimoji="0" sz="1800" b="0" i="0" u="none" strike="noStrike" kern="1200" cap="none" spc="-360" normalizeH="0" baseline="0" noProof="0" dirty="0">
                <a:ln>
                  <a:noFill/>
                </a:ln>
                <a:solidFill>
                  <a:srgbClr val="FFFFFF"/>
                </a:solidFill>
                <a:effectLst/>
                <a:uLnTx/>
                <a:uFillTx/>
                <a:latin typeface="Verdana"/>
                <a:ea typeface="+mn-ea"/>
                <a:cs typeface="Verdana"/>
              </a:rPr>
              <a:t> </a:t>
            </a:r>
            <a:r>
              <a:rPr kumimoji="0" sz="1800" b="0" i="0" u="none" strike="noStrike" kern="1200" cap="none" spc="40" normalizeH="0" baseline="0" noProof="0" dirty="0">
                <a:ln>
                  <a:noFill/>
                </a:ln>
                <a:solidFill>
                  <a:srgbClr val="FFFFFF"/>
                </a:solidFill>
                <a:effectLst/>
                <a:uLnTx/>
                <a:uFillTx/>
                <a:latin typeface="Verdana"/>
                <a:ea typeface="+mn-ea"/>
                <a:cs typeface="Verdana"/>
              </a:rPr>
              <a:t>C</a:t>
            </a:r>
            <a:r>
              <a:rPr kumimoji="0" sz="1800" b="0" i="0" u="none" strike="noStrike" kern="1200" cap="none" spc="-360" normalizeH="0" baseline="0" noProof="0" dirty="0">
                <a:ln>
                  <a:noFill/>
                </a:ln>
                <a:solidFill>
                  <a:srgbClr val="FFFFFF"/>
                </a:solidFill>
                <a:effectLst/>
                <a:uLnTx/>
                <a:uFillTx/>
                <a:latin typeface="Verdana"/>
                <a:ea typeface="+mn-ea"/>
                <a:cs typeface="Verdana"/>
              </a:rPr>
              <a:t> </a:t>
            </a:r>
            <a:r>
              <a:rPr kumimoji="0" sz="1800" b="0" i="0" u="none" strike="noStrike" kern="1200" cap="none" spc="-85" normalizeH="0" baseline="0" noProof="0" dirty="0">
                <a:ln>
                  <a:noFill/>
                </a:ln>
                <a:solidFill>
                  <a:srgbClr val="FFFFFF"/>
                </a:solidFill>
                <a:effectLst/>
                <a:uLnTx/>
                <a:uFillTx/>
                <a:latin typeface="Verdana"/>
                <a:ea typeface="+mn-ea"/>
                <a:cs typeface="Verdana"/>
              </a:rPr>
              <a:t>T</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290" normalizeH="0" baseline="0" noProof="0" dirty="0">
                <a:ln>
                  <a:noFill/>
                </a:ln>
                <a:solidFill>
                  <a:srgbClr val="FFFFFF"/>
                </a:solidFill>
                <a:effectLst/>
                <a:uLnTx/>
                <a:uFillTx/>
                <a:latin typeface="Verdana"/>
                <a:ea typeface="+mn-ea"/>
                <a:cs typeface="Verdana"/>
              </a:rPr>
              <a:t>I</a:t>
            </a:r>
            <a:r>
              <a:rPr kumimoji="0" sz="1800" b="0" i="0" u="none" strike="noStrike" kern="1200" cap="none" spc="-370" normalizeH="0" baseline="0" noProof="0" dirty="0">
                <a:ln>
                  <a:noFill/>
                </a:ln>
                <a:solidFill>
                  <a:srgbClr val="FFFFFF"/>
                </a:solidFill>
                <a:effectLst/>
                <a:uLnTx/>
                <a:uFillTx/>
                <a:latin typeface="Verdana"/>
                <a:ea typeface="+mn-ea"/>
                <a:cs typeface="Verdana"/>
              </a:rPr>
              <a:t> </a:t>
            </a:r>
            <a:r>
              <a:rPr kumimoji="0" sz="1800" b="0" i="0" u="none" strike="noStrike" kern="1200" cap="none" spc="-110" normalizeH="0" baseline="0" noProof="0" dirty="0">
                <a:ln>
                  <a:noFill/>
                </a:ln>
                <a:solidFill>
                  <a:srgbClr val="FFFFFF"/>
                </a:solidFill>
                <a:effectLst/>
                <a:uLnTx/>
                <a:uFillTx/>
                <a:latin typeface="Verdana"/>
                <a:ea typeface="+mn-ea"/>
                <a:cs typeface="Verdana"/>
              </a:rPr>
              <a:t>V</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290" normalizeH="0" baseline="0" noProof="0" dirty="0">
                <a:ln>
                  <a:noFill/>
                </a:ln>
                <a:solidFill>
                  <a:srgbClr val="FFFFFF"/>
                </a:solidFill>
                <a:effectLst/>
                <a:uLnTx/>
                <a:uFillTx/>
                <a:latin typeface="Verdana"/>
                <a:ea typeface="+mn-ea"/>
                <a:cs typeface="Verdana"/>
              </a:rPr>
              <a:t>I</a:t>
            </a:r>
            <a:r>
              <a:rPr kumimoji="0" sz="1800" b="0" i="0" u="none" strike="noStrike" kern="1200" cap="none" spc="-365" normalizeH="0" baseline="0" noProof="0" dirty="0">
                <a:ln>
                  <a:noFill/>
                </a:ln>
                <a:solidFill>
                  <a:srgbClr val="FFFFFF"/>
                </a:solidFill>
                <a:effectLst/>
                <a:uLnTx/>
                <a:uFillTx/>
                <a:latin typeface="Verdana"/>
                <a:ea typeface="+mn-ea"/>
                <a:cs typeface="Verdana"/>
              </a:rPr>
              <a:t> </a:t>
            </a:r>
            <a:r>
              <a:rPr kumimoji="0" sz="1800" b="0" i="0" u="none" strike="noStrike" kern="1200" cap="none" spc="-85" normalizeH="0" baseline="0" noProof="0" dirty="0">
                <a:ln>
                  <a:noFill/>
                </a:ln>
                <a:solidFill>
                  <a:srgbClr val="FFFFFF"/>
                </a:solidFill>
                <a:effectLst/>
                <a:uLnTx/>
                <a:uFillTx/>
                <a:latin typeface="Verdana"/>
                <a:ea typeface="+mn-ea"/>
                <a:cs typeface="Verdana"/>
              </a:rPr>
              <a:t>T</a:t>
            </a:r>
            <a:r>
              <a:rPr kumimoji="0" sz="1800" b="0" i="0" u="none" strike="noStrike" kern="1200" cap="none" spc="-355" normalizeH="0" baseline="0" noProof="0" dirty="0">
                <a:ln>
                  <a:noFill/>
                </a:ln>
                <a:solidFill>
                  <a:srgbClr val="FFFFFF"/>
                </a:solidFill>
                <a:effectLst/>
                <a:uLnTx/>
                <a:uFillTx/>
                <a:latin typeface="Verdana"/>
                <a:ea typeface="+mn-ea"/>
                <a:cs typeface="Verdana"/>
              </a:rPr>
              <a:t> </a:t>
            </a:r>
            <a:r>
              <a:rPr kumimoji="0" sz="1800" b="0" i="0" u="none" strike="noStrike" kern="1200" cap="none" spc="-25" normalizeH="0" baseline="0" noProof="0" dirty="0">
                <a:ln>
                  <a:noFill/>
                </a:ln>
                <a:solidFill>
                  <a:srgbClr val="FFFFFF"/>
                </a:solidFill>
                <a:effectLst/>
                <a:uLnTx/>
                <a:uFillTx/>
                <a:latin typeface="Verdana"/>
                <a:ea typeface="+mn-ea"/>
                <a:cs typeface="Verdana"/>
              </a:rPr>
              <a:t>Y</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0" marR="9525" lvl="0" indent="0" algn="r" defTabSz="914400" rtl="0" eaLnBrk="1" fontAlgn="auto" latinLnBrk="0" hangingPunct="1">
              <a:lnSpc>
                <a:spcPct val="100000"/>
              </a:lnSpc>
              <a:spcBef>
                <a:spcPts val="1345"/>
              </a:spcBef>
              <a:spcAft>
                <a:spcPts val="0"/>
              </a:spcAft>
              <a:buClrTx/>
              <a:buSzTx/>
              <a:buFontTx/>
              <a:buNone/>
              <a:tabLst/>
              <a:defRPr/>
            </a:pPr>
            <a:r>
              <a:rPr kumimoji="0" sz="1800" b="0" i="0" u="none" strike="noStrike" kern="1200" cap="none" spc="-220" normalizeH="0" baseline="0" noProof="0" dirty="0">
                <a:ln>
                  <a:noFill/>
                </a:ln>
                <a:solidFill>
                  <a:srgbClr val="FFFFFF"/>
                </a:solidFill>
                <a:effectLst/>
                <a:uLnTx/>
                <a:uFillTx/>
                <a:latin typeface="Verdana"/>
                <a:ea typeface="+mn-ea"/>
                <a:cs typeface="Verdana"/>
              </a:rPr>
              <a:t>S</a:t>
            </a:r>
            <a:r>
              <a:rPr kumimoji="0" sz="1800" b="0" i="0" u="none" strike="noStrike" kern="1200" cap="none" spc="-345" normalizeH="0" baseline="0" noProof="0" dirty="0">
                <a:ln>
                  <a:noFill/>
                </a:ln>
                <a:solidFill>
                  <a:srgbClr val="FFFFFF"/>
                </a:solidFill>
                <a:effectLst/>
                <a:uLnTx/>
                <a:uFillTx/>
                <a:latin typeface="Verdana"/>
                <a:ea typeface="+mn-ea"/>
                <a:cs typeface="Verdana"/>
              </a:rPr>
              <a:t> </a:t>
            </a:r>
            <a:r>
              <a:rPr kumimoji="0" sz="1800" b="0" i="0" u="none" strike="noStrike" kern="1200" cap="none" spc="-290" normalizeH="0" baseline="0" noProof="0" dirty="0">
                <a:ln>
                  <a:noFill/>
                </a:ln>
                <a:solidFill>
                  <a:srgbClr val="FFFFFF"/>
                </a:solidFill>
                <a:effectLst/>
                <a:uLnTx/>
                <a:uFillTx/>
                <a:latin typeface="Verdana"/>
                <a:ea typeface="+mn-ea"/>
                <a:cs typeface="Verdana"/>
              </a:rPr>
              <a:t>I</a:t>
            </a:r>
            <a:r>
              <a:rPr kumimoji="0" sz="1800" b="0" i="0" u="none" strike="noStrike" kern="1200" cap="none" spc="-345" normalizeH="0" baseline="0" noProof="0" dirty="0">
                <a:ln>
                  <a:noFill/>
                </a:ln>
                <a:solidFill>
                  <a:srgbClr val="FFFFFF"/>
                </a:solidFill>
                <a:effectLst/>
                <a:uLnTx/>
                <a:uFillTx/>
                <a:latin typeface="Verdana"/>
                <a:ea typeface="+mn-ea"/>
                <a:cs typeface="Verdana"/>
              </a:rPr>
              <a:t> </a:t>
            </a:r>
            <a:r>
              <a:rPr kumimoji="0" sz="1800" b="0" i="0" u="none" strike="noStrike" kern="1200" cap="none" spc="25" normalizeH="0" baseline="0" noProof="0" dirty="0">
                <a:ln>
                  <a:noFill/>
                </a:ln>
                <a:solidFill>
                  <a:srgbClr val="FFFFFF"/>
                </a:solidFill>
                <a:effectLst/>
                <a:uLnTx/>
                <a:uFillTx/>
                <a:latin typeface="Verdana"/>
                <a:ea typeface="+mn-ea"/>
                <a:cs typeface="Verdana"/>
              </a:rPr>
              <a:t>N</a:t>
            </a:r>
            <a:r>
              <a:rPr kumimoji="0" sz="1800" b="0" i="0" u="none" strike="noStrike" kern="1200" cap="none" spc="-345" normalizeH="0" baseline="0" noProof="0" dirty="0">
                <a:ln>
                  <a:noFill/>
                </a:ln>
                <a:solidFill>
                  <a:srgbClr val="FFFFFF"/>
                </a:solidFill>
                <a:effectLst/>
                <a:uLnTx/>
                <a:uFillTx/>
                <a:latin typeface="Verdana"/>
                <a:ea typeface="+mn-ea"/>
                <a:cs typeface="Verdana"/>
              </a:rPr>
              <a:t> </a:t>
            </a:r>
            <a:r>
              <a:rPr kumimoji="0" sz="1800" b="0" i="0" u="none" strike="noStrike" kern="1200" cap="none" spc="5" normalizeH="0" baseline="0" noProof="0" dirty="0">
                <a:ln>
                  <a:noFill/>
                </a:ln>
                <a:solidFill>
                  <a:srgbClr val="FFFFFF"/>
                </a:solidFill>
                <a:effectLst/>
                <a:uLnTx/>
                <a:uFillTx/>
                <a:latin typeface="Verdana"/>
                <a:ea typeface="+mn-ea"/>
                <a:cs typeface="Verdana"/>
              </a:rPr>
              <a:t>G</a:t>
            </a:r>
            <a:r>
              <a:rPr kumimoji="0" sz="1800" b="0" i="0" u="none" strike="noStrike" kern="1200" cap="none" spc="-345" normalizeH="0" baseline="0" noProof="0" dirty="0">
                <a:ln>
                  <a:noFill/>
                </a:ln>
                <a:solidFill>
                  <a:srgbClr val="FFFFFF"/>
                </a:solidFill>
                <a:effectLst/>
                <a:uLnTx/>
                <a:uFillTx/>
                <a:latin typeface="Verdana"/>
                <a:ea typeface="+mn-ea"/>
                <a:cs typeface="Verdana"/>
              </a:rPr>
              <a:t> </a:t>
            </a:r>
            <a:r>
              <a:rPr kumimoji="0" sz="1800" b="0" i="0" u="none" strike="noStrike" kern="1200" cap="none" spc="25" normalizeH="0" baseline="0" noProof="0" dirty="0">
                <a:ln>
                  <a:noFill/>
                </a:ln>
                <a:solidFill>
                  <a:srgbClr val="FFFFFF"/>
                </a:solidFill>
                <a:effectLst/>
                <a:uLnTx/>
                <a:uFillTx/>
                <a:latin typeface="Verdana"/>
                <a:ea typeface="+mn-ea"/>
                <a:cs typeface="Verdana"/>
              </a:rPr>
              <a:t>A</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45" normalizeH="0" baseline="0" noProof="0" dirty="0">
                <a:ln>
                  <a:noFill/>
                </a:ln>
                <a:solidFill>
                  <a:srgbClr val="FFFFFF"/>
                </a:solidFill>
                <a:effectLst/>
                <a:uLnTx/>
                <a:uFillTx/>
                <a:latin typeface="Verdana"/>
                <a:ea typeface="+mn-ea"/>
                <a:cs typeface="Verdana"/>
              </a:rPr>
              <a:t>P</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110" normalizeH="0" baseline="0" noProof="0" dirty="0">
                <a:ln>
                  <a:noFill/>
                </a:ln>
                <a:solidFill>
                  <a:srgbClr val="FFFFFF"/>
                </a:solidFill>
                <a:effectLst/>
                <a:uLnTx/>
                <a:uFillTx/>
                <a:latin typeface="Verdana"/>
                <a:ea typeface="+mn-ea"/>
                <a:cs typeface="Verdana"/>
              </a:rPr>
              <a:t>O</a:t>
            </a:r>
            <a:r>
              <a:rPr kumimoji="0" sz="1800" b="0" i="0" u="none" strike="noStrike" kern="1200" cap="none" spc="-350" normalizeH="0" baseline="0" noProof="0" dirty="0">
                <a:ln>
                  <a:noFill/>
                </a:ln>
                <a:solidFill>
                  <a:srgbClr val="FFFFFF"/>
                </a:solidFill>
                <a:effectLst/>
                <a:uLnTx/>
                <a:uFillTx/>
                <a:latin typeface="Verdana"/>
                <a:ea typeface="+mn-ea"/>
                <a:cs typeface="Verdana"/>
              </a:rPr>
              <a:t> </a:t>
            </a:r>
            <a:r>
              <a:rPr kumimoji="0" sz="1800" b="0" i="0" u="none" strike="noStrike" kern="1200" cap="none" spc="-175" normalizeH="0" baseline="0" noProof="0" dirty="0">
                <a:ln>
                  <a:noFill/>
                </a:ln>
                <a:solidFill>
                  <a:srgbClr val="FFFFFF"/>
                </a:solidFill>
                <a:effectLst/>
                <a:uLnTx/>
                <a:uFillTx/>
                <a:latin typeface="Verdana"/>
                <a:ea typeface="+mn-ea"/>
                <a:cs typeface="Verdana"/>
              </a:rPr>
              <a:t>R</a:t>
            </a:r>
            <a:r>
              <a:rPr kumimoji="0" sz="1800" b="0" i="0" u="none" strike="noStrike" kern="1200" cap="none" spc="-335" normalizeH="0" baseline="0" noProof="0" dirty="0">
                <a:ln>
                  <a:noFill/>
                </a:ln>
                <a:solidFill>
                  <a:srgbClr val="FFFFFF"/>
                </a:solidFill>
                <a:effectLst/>
                <a:uLnTx/>
                <a:uFillTx/>
                <a:latin typeface="Verdana"/>
                <a:ea typeface="+mn-ea"/>
                <a:cs typeface="Verdana"/>
              </a:rPr>
              <a:t> </a:t>
            </a:r>
            <a:r>
              <a:rPr kumimoji="0" sz="1800" b="0" i="0" u="none" strike="noStrike" kern="1200" cap="none" spc="-75" normalizeH="0" baseline="0" noProof="0" dirty="0">
                <a:ln>
                  <a:noFill/>
                </a:ln>
                <a:solidFill>
                  <a:srgbClr val="FFFFFF"/>
                </a:solidFill>
                <a:effectLst/>
                <a:uLnTx/>
                <a:uFillTx/>
                <a:latin typeface="Verdana"/>
                <a:ea typeface="+mn-ea"/>
                <a:cs typeface="Verdana"/>
              </a:rPr>
              <a:t>E</a:t>
            </a:r>
            <a:endParaRPr kumimoji="0" sz="18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sp>
          <p:nvSpPr>
            <p:cNvPr id="3" name="object 3"/>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0" y="1639823"/>
              <a:ext cx="5218176" cy="5218175"/>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object 5"/>
          <p:cNvGrpSpPr/>
          <p:nvPr/>
        </p:nvGrpSpPr>
        <p:grpSpPr>
          <a:xfrm>
            <a:off x="688848" y="0"/>
            <a:ext cx="11503660" cy="6858000"/>
            <a:chOff x="688848" y="0"/>
            <a:chExt cx="11503660" cy="6858000"/>
          </a:xfrm>
        </p:grpSpPr>
        <p:sp>
          <p:nvSpPr>
            <p:cNvPr id="6" name="object 6"/>
            <p:cNvSpPr/>
            <p:nvPr/>
          </p:nvSpPr>
          <p:spPr>
            <a:xfrm>
              <a:off x="6382512" y="0"/>
              <a:ext cx="4322826" cy="4319778"/>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6117336" y="1228342"/>
              <a:ext cx="5508498" cy="5508498"/>
            </a:xfrm>
            <a:prstGeom prst="rect">
              <a:avLst/>
            </a:prstGeom>
            <a:blipFill>
              <a:blip r:embed="rId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688848" y="0"/>
              <a:ext cx="11503152" cy="6858000"/>
            </a:xfrm>
            <a:prstGeom prst="rect">
              <a:avLst/>
            </a:prstGeom>
            <a:blipFill>
              <a:blip r:embed="rId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9" name="object 9"/>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000000">
              <a:alpha val="39999"/>
            </a:srgbClr>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p:nvPr/>
        </p:nvSpPr>
        <p:spPr>
          <a:xfrm>
            <a:off x="1524000" y="6019800"/>
            <a:ext cx="1219200" cy="0"/>
          </a:xfrm>
          <a:custGeom>
            <a:avLst/>
            <a:gdLst/>
            <a:ahLst/>
            <a:cxnLst/>
            <a:rect l="l" t="t" r="r" b="b"/>
            <a:pathLst>
              <a:path w="1219200">
                <a:moveTo>
                  <a:pt x="0" y="0"/>
                </a:moveTo>
                <a:lnTo>
                  <a:pt x="1219200" y="0"/>
                </a:lnTo>
              </a:path>
            </a:pathLst>
          </a:custGeom>
          <a:ln w="6350">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11" name="object 11"/>
          <p:cNvGrpSpPr/>
          <p:nvPr/>
        </p:nvGrpSpPr>
        <p:grpSpPr>
          <a:xfrm>
            <a:off x="1947672" y="1106424"/>
            <a:ext cx="1500505" cy="1616710"/>
            <a:chOff x="1947672" y="1106424"/>
            <a:chExt cx="1500505" cy="1616710"/>
          </a:xfrm>
        </p:grpSpPr>
        <p:sp>
          <p:nvSpPr>
            <p:cNvPr id="12" name="object 12"/>
            <p:cNvSpPr/>
            <p:nvPr/>
          </p:nvSpPr>
          <p:spPr>
            <a:xfrm>
              <a:off x="2020824" y="1179576"/>
              <a:ext cx="1427226" cy="1543050"/>
            </a:xfrm>
            <a:prstGeom prst="rect">
              <a:avLst/>
            </a:prstGeom>
            <a:blipFill>
              <a:blip r:embed="rId6"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object 13"/>
            <p:cNvSpPr/>
            <p:nvPr/>
          </p:nvSpPr>
          <p:spPr>
            <a:xfrm>
              <a:off x="1947672" y="1106424"/>
              <a:ext cx="1423415" cy="1539239"/>
            </a:xfrm>
            <a:prstGeom prst="rect">
              <a:avLst/>
            </a:prstGeom>
            <a:blipFill>
              <a:blip r:embed="rId7"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object 14"/>
          <p:cNvGrpSpPr/>
          <p:nvPr/>
        </p:nvGrpSpPr>
        <p:grpSpPr>
          <a:xfrm>
            <a:off x="3553967" y="1143000"/>
            <a:ext cx="1488440" cy="1586230"/>
            <a:chOff x="3553967" y="1143000"/>
            <a:chExt cx="1488440" cy="1586230"/>
          </a:xfrm>
        </p:grpSpPr>
        <p:sp>
          <p:nvSpPr>
            <p:cNvPr id="15" name="object 15"/>
            <p:cNvSpPr/>
            <p:nvPr/>
          </p:nvSpPr>
          <p:spPr>
            <a:xfrm>
              <a:off x="3627119" y="1216152"/>
              <a:ext cx="1415034" cy="1512570"/>
            </a:xfrm>
            <a:prstGeom prst="rect">
              <a:avLst/>
            </a:prstGeom>
            <a:blipFill>
              <a:blip r:embed="rId8"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6" name="object 16"/>
            <p:cNvSpPr/>
            <p:nvPr/>
          </p:nvSpPr>
          <p:spPr>
            <a:xfrm>
              <a:off x="3553967" y="1143000"/>
              <a:ext cx="1411224" cy="1508760"/>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object 17"/>
          <p:cNvGrpSpPr/>
          <p:nvPr/>
        </p:nvGrpSpPr>
        <p:grpSpPr>
          <a:xfrm>
            <a:off x="5172455" y="1133855"/>
            <a:ext cx="1518920" cy="1591945"/>
            <a:chOff x="5172455" y="1133855"/>
            <a:chExt cx="1518920" cy="1591945"/>
          </a:xfrm>
        </p:grpSpPr>
        <p:sp>
          <p:nvSpPr>
            <p:cNvPr id="18" name="object 18"/>
            <p:cNvSpPr/>
            <p:nvPr/>
          </p:nvSpPr>
          <p:spPr>
            <a:xfrm>
              <a:off x="5245607" y="1207007"/>
              <a:ext cx="1445514" cy="1518665"/>
            </a:xfrm>
            <a:prstGeom prst="rect">
              <a:avLst/>
            </a:prstGeom>
            <a:blipFill>
              <a:blip r:embed="rId10"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5172455" y="1133855"/>
              <a:ext cx="1441703" cy="1514856"/>
            </a:xfrm>
            <a:prstGeom prst="rect">
              <a:avLst/>
            </a:prstGeom>
            <a:blipFill>
              <a:blip r:embed="rId11"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0" name="object 20"/>
          <p:cNvGrpSpPr/>
          <p:nvPr/>
        </p:nvGrpSpPr>
        <p:grpSpPr>
          <a:xfrm>
            <a:off x="6842759" y="1106424"/>
            <a:ext cx="1604010" cy="1616710"/>
            <a:chOff x="6842759" y="1106424"/>
            <a:chExt cx="1604010" cy="1616710"/>
          </a:xfrm>
        </p:grpSpPr>
        <p:sp>
          <p:nvSpPr>
            <p:cNvPr id="21" name="object 21"/>
            <p:cNvSpPr/>
            <p:nvPr/>
          </p:nvSpPr>
          <p:spPr>
            <a:xfrm>
              <a:off x="6915911" y="1179576"/>
              <a:ext cx="1530857" cy="1543050"/>
            </a:xfrm>
            <a:prstGeom prst="rect">
              <a:avLst/>
            </a:prstGeom>
            <a:blipFill>
              <a:blip r:embed="rId1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6842759" y="1106424"/>
              <a:ext cx="1527048" cy="1539239"/>
            </a:xfrm>
            <a:prstGeom prst="rect">
              <a:avLst/>
            </a:prstGeom>
            <a:blipFill>
              <a:blip r:embed="rId1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3" name="object 23"/>
          <p:cNvGrpSpPr/>
          <p:nvPr/>
        </p:nvGrpSpPr>
        <p:grpSpPr>
          <a:xfrm>
            <a:off x="8601456" y="1106424"/>
            <a:ext cx="1720214" cy="1616710"/>
            <a:chOff x="8601456" y="1106424"/>
            <a:chExt cx="1720214" cy="1616710"/>
          </a:xfrm>
        </p:grpSpPr>
        <p:sp>
          <p:nvSpPr>
            <p:cNvPr id="24" name="object 24"/>
            <p:cNvSpPr/>
            <p:nvPr/>
          </p:nvSpPr>
          <p:spPr>
            <a:xfrm>
              <a:off x="8674608" y="1179576"/>
              <a:ext cx="1646681" cy="1543050"/>
            </a:xfrm>
            <a:prstGeom prst="rect">
              <a:avLst/>
            </a:prstGeom>
            <a:blipFill>
              <a:blip r:embed="rId14"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8601456" y="1106424"/>
              <a:ext cx="1642872" cy="1539239"/>
            </a:xfrm>
            <a:prstGeom prst="rect">
              <a:avLst/>
            </a:prstGeom>
            <a:blipFill>
              <a:blip r:embed="rId15"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6" name="object 26"/>
          <p:cNvSpPr txBox="1"/>
          <p:nvPr/>
        </p:nvSpPr>
        <p:spPr>
          <a:xfrm>
            <a:off x="1275080" y="2838449"/>
            <a:ext cx="633095"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1" i="0" u="none" strike="noStrike" kern="1200" cap="none" spc="-5" normalizeH="0" baseline="0" noProof="0" dirty="0">
                <a:ln>
                  <a:noFill/>
                </a:ln>
                <a:solidFill>
                  <a:srgbClr val="FFFFFF"/>
                </a:solidFill>
                <a:effectLst/>
                <a:uLnTx/>
                <a:uFillTx/>
                <a:latin typeface="Carlito"/>
                <a:ea typeface="+mn-ea"/>
                <a:cs typeface="Carlito"/>
              </a:rPr>
              <a:t>Period:</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27" name="object 27"/>
          <p:cNvSpPr txBox="1"/>
          <p:nvPr/>
        </p:nvSpPr>
        <p:spPr>
          <a:xfrm>
            <a:off x="2692654" y="2838449"/>
            <a:ext cx="314325"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Carlito"/>
                <a:ea typeface="+mn-ea"/>
                <a:cs typeface="Carlito"/>
              </a:rPr>
              <a:t>60s</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28" name="object 28"/>
          <p:cNvSpPr txBox="1"/>
          <p:nvPr/>
        </p:nvSpPr>
        <p:spPr>
          <a:xfrm>
            <a:off x="4070730" y="2838449"/>
            <a:ext cx="314325"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Carlito"/>
                <a:ea typeface="+mn-ea"/>
                <a:cs typeface="Carlito"/>
              </a:rPr>
              <a:t>70s</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29" name="object 29"/>
          <p:cNvSpPr txBox="1"/>
          <p:nvPr/>
        </p:nvSpPr>
        <p:spPr>
          <a:xfrm>
            <a:off x="5305425" y="2838449"/>
            <a:ext cx="314325"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Carlito"/>
                <a:ea typeface="+mn-ea"/>
                <a:cs typeface="Carlito"/>
              </a:rPr>
              <a:t>80s</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30" name="object 30"/>
          <p:cNvSpPr txBox="1"/>
          <p:nvPr/>
        </p:nvSpPr>
        <p:spPr>
          <a:xfrm>
            <a:off x="6354317" y="2838449"/>
            <a:ext cx="314325"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Carlito"/>
                <a:ea typeface="+mn-ea"/>
                <a:cs typeface="Carlito"/>
              </a:rPr>
              <a:t>90s</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31" name="object 31"/>
          <p:cNvSpPr txBox="1"/>
          <p:nvPr/>
        </p:nvSpPr>
        <p:spPr>
          <a:xfrm>
            <a:off x="7637780" y="2838449"/>
            <a:ext cx="521970"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1" i="0" u="none" strike="noStrike" kern="1200" cap="none" spc="0" normalizeH="0" baseline="0" noProof="0" dirty="0">
                <a:ln>
                  <a:noFill/>
                </a:ln>
                <a:solidFill>
                  <a:srgbClr val="FFFFFF"/>
                </a:solidFill>
                <a:effectLst/>
                <a:uLnTx/>
                <a:uFillTx/>
                <a:latin typeface="Carlito"/>
                <a:ea typeface="+mn-ea"/>
                <a:cs typeface="Carlito"/>
              </a:rPr>
              <a:t>2000s</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32" name="object 32"/>
          <p:cNvSpPr txBox="1"/>
          <p:nvPr/>
        </p:nvSpPr>
        <p:spPr>
          <a:xfrm>
            <a:off x="9186418" y="2838449"/>
            <a:ext cx="541020"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1" i="0" u="none" strike="noStrike" kern="1200" cap="none" spc="-10" normalizeH="0" baseline="0" noProof="0" dirty="0">
                <a:ln>
                  <a:noFill/>
                </a:ln>
                <a:solidFill>
                  <a:srgbClr val="FFFFFF"/>
                </a:solidFill>
                <a:effectLst/>
                <a:uLnTx/>
                <a:uFillTx/>
                <a:latin typeface="Carlito"/>
                <a:ea typeface="+mn-ea"/>
                <a:cs typeface="Carlito"/>
              </a:rPr>
              <a:t>&gt;</a:t>
            </a:r>
            <a:r>
              <a:rPr kumimoji="0" sz="1600" b="1" i="0" u="none" strike="noStrike" kern="1200" cap="none" spc="0" normalizeH="0" baseline="0" noProof="0" dirty="0">
                <a:ln>
                  <a:noFill/>
                </a:ln>
                <a:solidFill>
                  <a:srgbClr val="FFFFFF"/>
                </a:solidFill>
                <a:effectLst/>
                <a:uLnTx/>
                <a:uFillTx/>
                <a:latin typeface="Carlito"/>
                <a:ea typeface="+mn-ea"/>
                <a:cs typeface="Carlito"/>
              </a:rPr>
              <a:t>2015</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33" name="object 33"/>
          <p:cNvSpPr txBox="1"/>
          <p:nvPr/>
        </p:nvSpPr>
        <p:spPr>
          <a:xfrm>
            <a:off x="8792336" y="3231844"/>
            <a:ext cx="2029460" cy="514984"/>
          </a:xfrm>
          <a:prstGeom prst="rect">
            <a:avLst/>
          </a:prstGeom>
        </p:spPr>
        <p:txBody>
          <a:bodyPr vert="horz" wrap="square" lIns="0" tIns="13970" rIns="0" bIns="0" rtlCol="0">
            <a:spAutoFit/>
          </a:bodyPr>
          <a:lstStyle/>
          <a:p>
            <a:pPr marL="33655" marR="0" lvl="0" indent="0" algn="l" defTabSz="914400" rtl="0" eaLnBrk="1" fontAlgn="auto" latinLnBrk="0" hangingPunct="1">
              <a:lnSpc>
                <a:spcPct val="100000"/>
              </a:lnSpc>
              <a:spcBef>
                <a:spcPts val="110"/>
              </a:spcBef>
              <a:spcAft>
                <a:spcPts val="0"/>
              </a:spcAft>
              <a:buClrTx/>
              <a:buSzTx/>
              <a:buFontTx/>
              <a:buNone/>
              <a:tabLst/>
              <a:defRPr/>
            </a:pPr>
            <a:r>
              <a:rPr kumimoji="0" sz="1600" b="0" i="0" u="none" strike="noStrike" kern="1200" cap="none" spc="-10" normalizeH="0" baseline="0" noProof="0" dirty="0">
                <a:ln>
                  <a:noFill/>
                </a:ln>
                <a:solidFill>
                  <a:srgbClr val="FFFFFF"/>
                </a:solidFill>
                <a:effectLst/>
                <a:uLnTx/>
                <a:uFillTx/>
                <a:latin typeface="Carlito"/>
                <a:ea typeface="+mn-ea"/>
                <a:cs typeface="Carlito"/>
              </a:rPr>
              <a:t>Research,  Innovation</a:t>
            </a:r>
            <a:r>
              <a:rPr kumimoji="0" sz="1600" b="0" i="0" u="none" strike="noStrike" kern="1200" cap="none" spc="-25" normalizeH="0" baseline="0" noProof="0" dirty="0">
                <a:ln>
                  <a:noFill/>
                </a:ln>
                <a:solidFill>
                  <a:srgbClr val="FFFFFF"/>
                </a:solidFill>
                <a:effectLst/>
                <a:uLnTx/>
                <a:uFillTx/>
                <a:latin typeface="Carlito"/>
                <a:ea typeface="+mn-ea"/>
                <a:cs typeface="Carlito"/>
              </a:rPr>
              <a:t> </a:t>
            </a:r>
            <a:r>
              <a:rPr kumimoji="0" sz="1600" b="0" i="0" u="none" strike="noStrike" kern="1200" cap="none" spc="5" normalizeH="0" baseline="0" noProof="0" dirty="0">
                <a:ln>
                  <a:noFill/>
                </a:ln>
                <a:solidFill>
                  <a:srgbClr val="FFFFFF"/>
                </a:solidFill>
                <a:effectLst/>
                <a:uLnTx/>
                <a:uFillTx/>
                <a:latin typeface="Carlito"/>
                <a:ea typeface="+mn-ea"/>
                <a:cs typeface="Carlito"/>
              </a:rPr>
              <a:t>&amp;</a:t>
            </a:r>
            <a:endParaRPr kumimoji="0" sz="1600" b="0" i="0" u="none" strike="noStrike" kern="1200" cap="none" spc="0" normalizeH="0" baseline="0" noProof="0">
              <a:ln>
                <a:noFill/>
              </a:ln>
              <a:solidFill>
                <a:prstClr val="black"/>
              </a:solidFill>
              <a:effectLst/>
              <a:uLnTx/>
              <a:uFillTx/>
              <a:latin typeface="Carlito"/>
              <a:ea typeface="+mn-ea"/>
              <a:cs typeface="Carlito"/>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600" b="0" i="0" u="none" strike="noStrike" kern="1200" cap="none" spc="-10" normalizeH="0" baseline="0" noProof="0" dirty="0">
                <a:ln>
                  <a:noFill/>
                </a:ln>
                <a:solidFill>
                  <a:srgbClr val="FFFFFF"/>
                </a:solidFill>
                <a:effectLst/>
                <a:uLnTx/>
                <a:uFillTx/>
                <a:latin typeface="Carlito"/>
                <a:ea typeface="+mn-ea"/>
                <a:cs typeface="Carlito"/>
              </a:rPr>
              <a:t>Enterprise</a:t>
            </a:r>
            <a:r>
              <a:rPr kumimoji="0" sz="1600" b="0" i="0" u="none" strike="noStrike" kern="1200" cap="none" spc="-25" normalizeH="0" baseline="0" noProof="0" dirty="0">
                <a:ln>
                  <a:noFill/>
                </a:ln>
                <a:solidFill>
                  <a:srgbClr val="FFFFFF"/>
                </a:solidFill>
                <a:effectLst/>
                <a:uLnTx/>
                <a:uFillTx/>
                <a:latin typeface="Carlito"/>
                <a:ea typeface="+mn-ea"/>
                <a:cs typeface="Carlito"/>
              </a:rPr>
              <a:t> </a:t>
            </a:r>
            <a:r>
              <a:rPr kumimoji="0" sz="1600" b="0" i="0" u="none" strike="noStrike" kern="1200" cap="none" spc="-10" normalizeH="0" baseline="0" noProof="0" dirty="0">
                <a:ln>
                  <a:noFill/>
                </a:ln>
                <a:solidFill>
                  <a:srgbClr val="FFFFFF"/>
                </a:solidFill>
                <a:effectLst/>
                <a:uLnTx/>
                <a:uFillTx/>
                <a:latin typeface="Carlito"/>
                <a:ea typeface="+mn-ea"/>
                <a:cs typeface="Carlito"/>
              </a:rPr>
              <a:t>Development</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34" name="object 34"/>
          <p:cNvSpPr txBox="1"/>
          <p:nvPr/>
        </p:nvSpPr>
        <p:spPr>
          <a:xfrm>
            <a:off x="1320546" y="3308096"/>
            <a:ext cx="551815"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0" i="0" u="none" strike="noStrike" kern="1200" cap="none" spc="-10" normalizeH="0" baseline="0" noProof="0" dirty="0">
                <a:ln>
                  <a:noFill/>
                </a:ln>
                <a:solidFill>
                  <a:srgbClr val="FFFFFF"/>
                </a:solidFill>
                <a:effectLst/>
                <a:uLnTx/>
                <a:uFillTx/>
                <a:latin typeface="Carlito"/>
                <a:ea typeface="+mn-ea"/>
                <a:cs typeface="Carlito"/>
              </a:rPr>
              <a:t>Focus:</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35" name="object 35"/>
          <p:cNvSpPr txBox="1"/>
          <p:nvPr/>
        </p:nvSpPr>
        <p:spPr>
          <a:xfrm>
            <a:off x="2261997" y="3308096"/>
            <a:ext cx="1077595"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Carlito"/>
                <a:ea typeface="+mn-ea"/>
                <a:cs typeface="Carlito"/>
              </a:rPr>
              <a:t>Employment</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36" name="object 36"/>
          <p:cNvSpPr txBox="1"/>
          <p:nvPr/>
        </p:nvSpPr>
        <p:spPr>
          <a:xfrm>
            <a:off x="3827145" y="3308096"/>
            <a:ext cx="1389380"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0" i="0" u="none" strike="noStrike" kern="1200" cap="none" spc="-5" normalizeH="0" baseline="0" noProof="0" dirty="0">
                <a:ln>
                  <a:noFill/>
                </a:ln>
                <a:solidFill>
                  <a:srgbClr val="FFFFFF"/>
                </a:solidFill>
                <a:effectLst/>
                <a:uLnTx/>
                <a:uFillTx/>
                <a:latin typeface="Carlito"/>
                <a:ea typeface="+mn-ea"/>
                <a:cs typeface="Carlito"/>
              </a:rPr>
              <a:t>Labour</a:t>
            </a:r>
            <a:r>
              <a:rPr kumimoji="0" sz="1600" b="0" i="0" u="none" strike="noStrike" kern="1200" cap="none" spc="-40" normalizeH="0" baseline="0" noProof="0" dirty="0">
                <a:ln>
                  <a:noFill/>
                </a:ln>
                <a:solidFill>
                  <a:srgbClr val="FFFFFF"/>
                </a:solidFill>
                <a:effectLst/>
                <a:uLnTx/>
                <a:uFillTx/>
                <a:latin typeface="Carlito"/>
                <a:ea typeface="+mn-ea"/>
                <a:cs typeface="Carlito"/>
              </a:rPr>
              <a:t> </a:t>
            </a:r>
            <a:r>
              <a:rPr kumimoji="0" sz="1600" b="0" i="0" u="none" strike="noStrike" kern="1200" cap="none" spc="-15" normalizeH="0" baseline="0" noProof="0" dirty="0">
                <a:ln>
                  <a:noFill/>
                </a:ln>
                <a:solidFill>
                  <a:srgbClr val="FFFFFF"/>
                </a:solidFill>
                <a:effectLst/>
                <a:uLnTx/>
                <a:uFillTx/>
                <a:latin typeface="Carlito"/>
                <a:ea typeface="+mn-ea"/>
                <a:cs typeface="Carlito"/>
              </a:rPr>
              <a:t>Intensive</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37" name="object 37"/>
          <p:cNvSpPr txBox="1"/>
          <p:nvPr/>
        </p:nvSpPr>
        <p:spPr>
          <a:xfrm>
            <a:off x="5670296" y="3308096"/>
            <a:ext cx="1398270" cy="270510"/>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600" b="0" i="0" u="none" strike="noStrike" kern="1200" cap="none" spc="-10" normalizeH="0" baseline="0" noProof="0" dirty="0">
                <a:ln>
                  <a:noFill/>
                </a:ln>
                <a:solidFill>
                  <a:srgbClr val="FFFFFF"/>
                </a:solidFill>
                <a:effectLst/>
                <a:uLnTx/>
                <a:uFillTx/>
                <a:latin typeface="Carlito"/>
                <a:ea typeface="+mn-ea"/>
                <a:cs typeface="Carlito"/>
              </a:rPr>
              <a:t>Capital-Intensive</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
        <p:nvSpPr>
          <p:cNvPr id="38" name="object 38"/>
          <p:cNvSpPr txBox="1"/>
          <p:nvPr/>
        </p:nvSpPr>
        <p:spPr>
          <a:xfrm>
            <a:off x="7478394" y="3231844"/>
            <a:ext cx="938530" cy="514984"/>
          </a:xfrm>
          <a:prstGeom prst="rect">
            <a:avLst/>
          </a:prstGeom>
        </p:spPr>
        <p:txBody>
          <a:bodyPr vert="horz" wrap="square" lIns="0" tIns="13970" rIns="0" bIns="0" rtlCol="0">
            <a:spAutoFit/>
          </a:bodyPr>
          <a:lstStyle/>
          <a:p>
            <a:pPr marL="12700" marR="0" lvl="0" indent="0" algn="l" defTabSz="914400" rtl="0" eaLnBrk="1" fontAlgn="auto" latinLnBrk="0" hangingPunct="1">
              <a:lnSpc>
                <a:spcPct val="100000"/>
              </a:lnSpc>
              <a:spcBef>
                <a:spcPts val="110"/>
              </a:spcBef>
              <a:spcAft>
                <a:spcPts val="0"/>
              </a:spcAft>
              <a:buClrTx/>
              <a:buSzTx/>
              <a:buFontTx/>
              <a:buNone/>
              <a:tabLst/>
              <a:defRPr/>
            </a:pPr>
            <a:r>
              <a:rPr kumimoji="0" sz="1600" b="0" i="0" u="none" strike="noStrike" kern="1200" cap="none" spc="-20" normalizeH="0" baseline="0" noProof="0" dirty="0">
                <a:ln>
                  <a:noFill/>
                </a:ln>
                <a:solidFill>
                  <a:srgbClr val="FFFFFF"/>
                </a:solidFill>
                <a:effectLst/>
                <a:uLnTx/>
                <a:uFillTx/>
                <a:latin typeface="Carlito"/>
                <a:ea typeface="+mn-ea"/>
                <a:cs typeface="Carlito"/>
              </a:rPr>
              <a:t>K</a:t>
            </a:r>
            <a:r>
              <a:rPr kumimoji="0" sz="1600" b="0" i="0" u="none" strike="noStrike" kern="1200" cap="none" spc="-5" normalizeH="0" baseline="0" noProof="0" dirty="0">
                <a:ln>
                  <a:noFill/>
                </a:ln>
                <a:solidFill>
                  <a:srgbClr val="FFFFFF"/>
                </a:solidFill>
                <a:effectLst/>
                <a:uLnTx/>
                <a:uFillTx/>
                <a:latin typeface="Carlito"/>
                <a:ea typeface="+mn-ea"/>
                <a:cs typeface="Carlito"/>
              </a:rPr>
              <a:t>no</a:t>
            </a:r>
            <a:r>
              <a:rPr kumimoji="0" sz="1600" b="0" i="0" u="none" strike="noStrike" kern="1200" cap="none" spc="5" normalizeH="0" baseline="0" noProof="0" dirty="0">
                <a:ln>
                  <a:noFill/>
                </a:ln>
                <a:solidFill>
                  <a:srgbClr val="FFFFFF"/>
                </a:solidFill>
                <a:effectLst/>
                <a:uLnTx/>
                <a:uFillTx/>
                <a:latin typeface="Carlito"/>
                <a:ea typeface="+mn-ea"/>
                <a:cs typeface="Carlito"/>
              </a:rPr>
              <a:t>w</a:t>
            </a:r>
            <a:r>
              <a:rPr kumimoji="0" sz="1600" b="0" i="0" u="none" strike="noStrike" kern="1200" cap="none" spc="-10" normalizeH="0" baseline="0" noProof="0" dirty="0">
                <a:ln>
                  <a:noFill/>
                </a:ln>
                <a:solidFill>
                  <a:srgbClr val="FFFFFF"/>
                </a:solidFill>
                <a:effectLst/>
                <a:uLnTx/>
                <a:uFillTx/>
                <a:latin typeface="Carlito"/>
                <a:ea typeface="+mn-ea"/>
                <a:cs typeface="Carlito"/>
              </a:rPr>
              <a:t>led</a:t>
            </a:r>
            <a:r>
              <a:rPr kumimoji="0" sz="1600" b="0" i="0" u="none" strike="noStrike" kern="1200" cap="none" spc="-15" normalizeH="0" baseline="0" noProof="0" dirty="0">
                <a:ln>
                  <a:noFill/>
                </a:ln>
                <a:solidFill>
                  <a:srgbClr val="FFFFFF"/>
                </a:solidFill>
                <a:effectLst/>
                <a:uLnTx/>
                <a:uFillTx/>
                <a:latin typeface="Carlito"/>
                <a:ea typeface="+mn-ea"/>
                <a:cs typeface="Carlito"/>
              </a:rPr>
              <a:t>g</a:t>
            </a:r>
            <a:r>
              <a:rPr kumimoji="0" sz="1600" b="0" i="0" u="none" strike="noStrike" kern="1200" cap="none" spc="5" normalizeH="0" baseline="0" noProof="0" dirty="0">
                <a:ln>
                  <a:noFill/>
                </a:ln>
                <a:solidFill>
                  <a:srgbClr val="FFFFFF"/>
                </a:solidFill>
                <a:effectLst/>
                <a:uLnTx/>
                <a:uFillTx/>
                <a:latin typeface="Carlito"/>
                <a:ea typeface="+mn-ea"/>
                <a:cs typeface="Carlito"/>
              </a:rPr>
              <a:t>e</a:t>
            </a:r>
            <a:endParaRPr kumimoji="0" sz="1600" b="0" i="0" u="none" strike="noStrike" kern="1200" cap="none" spc="0" normalizeH="0" baseline="0" noProof="0">
              <a:ln>
                <a:noFill/>
              </a:ln>
              <a:solidFill>
                <a:prstClr val="black"/>
              </a:solidFill>
              <a:effectLst/>
              <a:uLnTx/>
              <a:uFillTx/>
              <a:latin typeface="Carlito"/>
              <a:ea typeface="+mn-ea"/>
              <a:cs typeface="Carlito"/>
            </a:endParaRPr>
          </a:p>
          <a:p>
            <a:pPr marL="91440" marR="0" lvl="0" indent="0" algn="l" defTabSz="914400" rtl="0" eaLnBrk="1" fontAlgn="auto" latinLnBrk="0" hangingPunct="1">
              <a:lnSpc>
                <a:spcPct val="100000"/>
              </a:lnSpc>
              <a:spcBef>
                <a:spcPts val="0"/>
              </a:spcBef>
              <a:spcAft>
                <a:spcPts val="0"/>
              </a:spcAft>
              <a:buClrTx/>
              <a:buSzTx/>
              <a:buFontTx/>
              <a:buNone/>
              <a:tabLst/>
              <a:defRPr/>
            </a:pPr>
            <a:r>
              <a:rPr kumimoji="0" sz="1600" b="0" i="0" u="none" strike="noStrike" kern="1200" cap="none" spc="-10" normalizeH="0" baseline="0" noProof="0" dirty="0">
                <a:ln>
                  <a:noFill/>
                </a:ln>
                <a:solidFill>
                  <a:srgbClr val="FFFFFF"/>
                </a:solidFill>
                <a:effectLst/>
                <a:uLnTx/>
                <a:uFillTx/>
                <a:latin typeface="Carlito"/>
                <a:ea typeface="+mn-ea"/>
                <a:cs typeface="Carlito"/>
              </a:rPr>
              <a:t>Economy</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graphicFrame>
        <p:nvGraphicFramePr>
          <p:cNvPr id="39" name="object 39"/>
          <p:cNvGraphicFramePr>
            <a:graphicFrameLocks noGrp="1"/>
          </p:cNvGraphicFramePr>
          <p:nvPr/>
        </p:nvGraphicFramePr>
        <p:xfrm>
          <a:off x="594283" y="4032377"/>
          <a:ext cx="11004550" cy="2225088"/>
        </p:xfrm>
        <a:graphic>
          <a:graphicData uri="http://schemas.openxmlformats.org/drawingml/2006/table">
            <a:tbl>
              <a:tblPr firstRow="1" bandRow="1">
                <a:tableStyleId>{2D5ABB26-0587-4C30-8999-92F81FD0307C}</a:tableStyleId>
              </a:tblPr>
              <a:tblGrid>
                <a:gridCol w="4134485">
                  <a:extLst>
                    <a:ext uri="{9D8B030D-6E8A-4147-A177-3AD203B41FA5}">
                      <a16:colId xmlns:a16="http://schemas.microsoft.com/office/drawing/2014/main" val="20000"/>
                    </a:ext>
                  </a:extLst>
                </a:gridCol>
                <a:gridCol w="2425065">
                  <a:extLst>
                    <a:ext uri="{9D8B030D-6E8A-4147-A177-3AD203B41FA5}">
                      <a16:colId xmlns:a16="http://schemas.microsoft.com/office/drawing/2014/main" val="20001"/>
                    </a:ext>
                  </a:extLst>
                </a:gridCol>
                <a:gridCol w="2244725">
                  <a:extLst>
                    <a:ext uri="{9D8B030D-6E8A-4147-A177-3AD203B41FA5}">
                      <a16:colId xmlns:a16="http://schemas.microsoft.com/office/drawing/2014/main" val="20002"/>
                    </a:ext>
                  </a:extLst>
                </a:gridCol>
                <a:gridCol w="2200275">
                  <a:extLst>
                    <a:ext uri="{9D8B030D-6E8A-4147-A177-3AD203B41FA5}">
                      <a16:colId xmlns:a16="http://schemas.microsoft.com/office/drawing/2014/main" val="20003"/>
                    </a:ext>
                  </a:extLst>
                </a:gridCol>
              </a:tblGrid>
              <a:tr h="370840">
                <a:tc>
                  <a:txBody>
                    <a:bodyPr/>
                    <a:lstStyle/>
                    <a:p>
                      <a:pPr>
                        <a:lnSpc>
                          <a:spcPct val="100000"/>
                        </a:lnSpc>
                      </a:pPr>
                      <a:endParaRPr sz="1800">
                        <a:latin typeface="Times New Roman"/>
                        <a:cs typeface="Times New Roman"/>
                      </a:endParaRPr>
                    </a:p>
                  </a:txBody>
                  <a:tcPr marL="0" marR="0" marT="0" marB="0">
                    <a:lnT w="12700">
                      <a:solidFill>
                        <a:srgbClr val="794DFF"/>
                      </a:solidFill>
                      <a:prstDash val="solid"/>
                    </a:lnT>
                    <a:lnB w="12700">
                      <a:solidFill>
                        <a:srgbClr val="794DFF"/>
                      </a:solidFill>
                      <a:prstDash val="solid"/>
                    </a:lnB>
                    <a:solidFill>
                      <a:srgbClr val="999999"/>
                    </a:solidFill>
                  </a:tcPr>
                </a:tc>
                <a:tc>
                  <a:txBody>
                    <a:bodyPr/>
                    <a:lstStyle/>
                    <a:p>
                      <a:pPr marR="917575" algn="r">
                        <a:lnSpc>
                          <a:spcPct val="100000"/>
                        </a:lnSpc>
                        <a:spcBef>
                          <a:spcPts val="315"/>
                        </a:spcBef>
                      </a:pPr>
                      <a:r>
                        <a:rPr sz="1400" b="1" spc="-15" dirty="0">
                          <a:solidFill>
                            <a:srgbClr val="FFFFFF"/>
                          </a:solidFill>
                          <a:latin typeface="Arial"/>
                          <a:cs typeface="Arial"/>
                        </a:rPr>
                        <a:t>1991</a:t>
                      </a:r>
                      <a:endParaRPr sz="1400">
                        <a:latin typeface="Arial"/>
                        <a:cs typeface="Arial"/>
                      </a:endParaRPr>
                    </a:p>
                  </a:txBody>
                  <a:tcPr marL="0" marR="0" marT="40005" marB="0">
                    <a:lnT w="12700">
                      <a:solidFill>
                        <a:srgbClr val="794DFF"/>
                      </a:solidFill>
                      <a:prstDash val="solid"/>
                    </a:lnT>
                    <a:lnB w="12700">
                      <a:solidFill>
                        <a:srgbClr val="794DFF"/>
                      </a:solidFill>
                      <a:prstDash val="solid"/>
                    </a:lnB>
                    <a:solidFill>
                      <a:srgbClr val="999999"/>
                    </a:solidFill>
                  </a:tcPr>
                </a:tc>
                <a:tc>
                  <a:txBody>
                    <a:bodyPr/>
                    <a:lstStyle/>
                    <a:p>
                      <a:pPr marL="49530" algn="ctr">
                        <a:lnSpc>
                          <a:spcPct val="100000"/>
                        </a:lnSpc>
                        <a:spcBef>
                          <a:spcPts val="315"/>
                        </a:spcBef>
                      </a:pPr>
                      <a:r>
                        <a:rPr sz="1400" b="1" spc="105" dirty="0">
                          <a:solidFill>
                            <a:srgbClr val="FFFFFF"/>
                          </a:solidFill>
                          <a:latin typeface="Arial"/>
                          <a:cs typeface="Arial"/>
                        </a:rPr>
                        <a:t>2017</a:t>
                      </a:r>
                      <a:endParaRPr sz="1400">
                        <a:latin typeface="Arial"/>
                        <a:cs typeface="Arial"/>
                      </a:endParaRPr>
                    </a:p>
                  </a:txBody>
                  <a:tcPr marL="0" marR="0" marT="40005" marB="0">
                    <a:lnT w="12700">
                      <a:solidFill>
                        <a:srgbClr val="794DFF"/>
                      </a:solidFill>
                      <a:prstDash val="solid"/>
                    </a:lnT>
                    <a:lnB w="12700">
                      <a:solidFill>
                        <a:srgbClr val="794DFF"/>
                      </a:solidFill>
                      <a:prstDash val="solid"/>
                    </a:lnB>
                    <a:solidFill>
                      <a:srgbClr val="999999"/>
                    </a:solidFill>
                  </a:tcPr>
                </a:tc>
                <a:tc>
                  <a:txBody>
                    <a:bodyPr/>
                    <a:lstStyle/>
                    <a:p>
                      <a:pPr algn="ctr">
                        <a:lnSpc>
                          <a:spcPct val="100000"/>
                        </a:lnSpc>
                        <a:spcBef>
                          <a:spcPts val="315"/>
                        </a:spcBef>
                      </a:pPr>
                      <a:r>
                        <a:rPr sz="1400" b="1" spc="-55" dirty="0">
                          <a:solidFill>
                            <a:srgbClr val="FFFFFF"/>
                          </a:solidFill>
                          <a:latin typeface="Arial"/>
                          <a:cs typeface="Arial"/>
                        </a:rPr>
                        <a:t>CAGR</a:t>
                      </a:r>
                      <a:endParaRPr sz="1400">
                        <a:latin typeface="Arial"/>
                        <a:cs typeface="Arial"/>
                      </a:endParaRPr>
                    </a:p>
                  </a:txBody>
                  <a:tcPr marL="0" marR="0" marT="40005" marB="0">
                    <a:lnT w="12700">
                      <a:solidFill>
                        <a:srgbClr val="794DFF"/>
                      </a:solidFill>
                      <a:prstDash val="solid"/>
                    </a:lnT>
                    <a:lnB w="12700">
                      <a:solidFill>
                        <a:srgbClr val="794DFF"/>
                      </a:solidFill>
                      <a:prstDash val="solid"/>
                    </a:lnB>
                    <a:solidFill>
                      <a:srgbClr val="999999"/>
                    </a:solidFill>
                  </a:tcPr>
                </a:tc>
                <a:extLst>
                  <a:ext uri="{0D108BD9-81ED-4DB2-BD59-A6C34878D82A}">
                    <a16:rowId xmlns:a16="http://schemas.microsoft.com/office/drawing/2014/main" val="10000"/>
                  </a:ext>
                </a:extLst>
              </a:tr>
              <a:tr h="370839">
                <a:tc>
                  <a:txBody>
                    <a:bodyPr/>
                    <a:lstStyle/>
                    <a:p>
                      <a:pPr marL="91440">
                        <a:lnSpc>
                          <a:spcPct val="100000"/>
                        </a:lnSpc>
                        <a:spcBef>
                          <a:spcPts val="320"/>
                        </a:spcBef>
                      </a:pPr>
                      <a:r>
                        <a:rPr sz="1400" spc="-75" dirty="0">
                          <a:solidFill>
                            <a:srgbClr val="FFFFFF"/>
                          </a:solidFill>
                          <a:latin typeface="Verdana"/>
                          <a:cs typeface="Verdana"/>
                        </a:rPr>
                        <a:t>Gross </a:t>
                      </a:r>
                      <a:r>
                        <a:rPr sz="1400" spc="-65" dirty="0">
                          <a:solidFill>
                            <a:srgbClr val="FFFFFF"/>
                          </a:solidFill>
                          <a:latin typeface="Verdana"/>
                          <a:cs typeface="Verdana"/>
                        </a:rPr>
                        <a:t>Expenditure </a:t>
                      </a:r>
                      <a:r>
                        <a:rPr sz="1400" spc="-50" dirty="0">
                          <a:solidFill>
                            <a:srgbClr val="FFFFFF"/>
                          </a:solidFill>
                          <a:latin typeface="Verdana"/>
                          <a:cs typeface="Verdana"/>
                        </a:rPr>
                        <a:t>on </a:t>
                      </a:r>
                      <a:r>
                        <a:rPr sz="1400" spc="-70" dirty="0">
                          <a:solidFill>
                            <a:srgbClr val="FFFFFF"/>
                          </a:solidFill>
                          <a:latin typeface="Verdana"/>
                          <a:cs typeface="Verdana"/>
                        </a:rPr>
                        <a:t>R&amp;D</a:t>
                      </a:r>
                      <a:r>
                        <a:rPr sz="1400" spc="-350" dirty="0">
                          <a:solidFill>
                            <a:srgbClr val="FFFFFF"/>
                          </a:solidFill>
                          <a:latin typeface="Verdana"/>
                          <a:cs typeface="Verdana"/>
                        </a:rPr>
                        <a:t> </a:t>
                      </a:r>
                      <a:r>
                        <a:rPr sz="1400" spc="-114" dirty="0">
                          <a:solidFill>
                            <a:srgbClr val="FFFFFF"/>
                          </a:solidFill>
                          <a:latin typeface="Verdana"/>
                          <a:cs typeface="Verdana"/>
                        </a:rPr>
                        <a:t>(GERD)</a:t>
                      </a:r>
                      <a:endParaRPr sz="1400">
                        <a:latin typeface="Verdana"/>
                        <a:cs typeface="Verdana"/>
                      </a:endParaRPr>
                    </a:p>
                  </a:txBody>
                  <a:tcPr marL="0" marR="0" marT="40640" marB="0">
                    <a:lnT w="12700">
                      <a:solidFill>
                        <a:srgbClr val="794DFF"/>
                      </a:solidFill>
                      <a:prstDash val="solid"/>
                    </a:lnT>
                    <a:solidFill>
                      <a:srgbClr val="E4DBFE"/>
                    </a:solidFill>
                  </a:tcPr>
                </a:tc>
                <a:tc>
                  <a:txBody>
                    <a:bodyPr/>
                    <a:lstStyle/>
                    <a:p>
                      <a:pPr marR="908685" algn="r">
                        <a:lnSpc>
                          <a:spcPct val="100000"/>
                        </a:lnSpc>
                        <a:spcBef>
                          <a:spcPts val="320"/>
                        </a:spcBef>
                      </a:pPr>
                      <a:r>
                        <a:rPr sz="1400" spc="5" dirty="0">
                          <a:solidFill>
                            <a:srgbClr val="FFFFFF"/>
                          </a:solidFill>
                          <a:latin typeface="Verdana"/>
                          <a:cs typeface="Verdana"/>
                        </a:rPr>
                        <a:t>$0</a:t>
                      </a:r>
                      <a:r>
                        <a:rPr sz="1400" dirty="0">
                          <a:solidFill>
                            <a:srgbClr val="FFFFFF"/>
                          </a:solidFill>
                          <a:latin typeface="Verdana"/>
                          <a:cs typeface="Verdana"/>
                        </a:rPr>
                        <a:t>.</a:t>
                      </a:r>
                      <a:r>
                        <a:rPr sz="1400" spc="5" dirty="0">
                          <a:solidFill>
                            <a:srgbClr val="FFFFFF"/>
                          </a:solidFill>
                          <a:latin typeface="Verdana"/>
                          <a:cs typeface="Verdana"/>
                        </a:rPr>
                        <a:t>8</a:t>
                      </a:r>
                      <a:r>
                        <a:rPr sz="1400" dirty="0">
                          <a:solidFill>
                            <a:srgbClr val="FFFFFF"/>
                          </a:solidFill>
                          <a:latin typeface="Verdana"/>
                          <a:cs typeface="Verdana"/>
                        </a:rPr>
                        <a:t>B</a:t>
                      </a:r>
                      <a:endParaRPr sz="1400">
                        <a:latin typeface="Verdana"/>
                        <a:cs typeface="Verdana"/>
                      </a:endParaRPr>
                    </a:p>
                  </a:txBody>
                  <a:tcPr marL="0" marR="0" marT="40640" marB="0">
                    <a:lnT w="12700">
                      <a:solidFill>
                        <a:srgbClr val="794DFF"/>
                      </a:solidFill>
                      <a:prstDash val="solid"/>
                    </a:lnT>
                    <a:solidFill>
                      <a:srgbClr val="E4DBFE"/>
                    </a:solidFill>
                  </a:tcPr>
                </a:tc>
                <a:tc>
                  <a:txBody>
                    <a:bodyPr/>
                    <a:lstStyle/>
                    <a:p>
                      <a:pPr marL="48895" algn="ctr">
                        <a:lnSpc>
                          <a:spcPct val="100000"/>
                        </a:lnSpc>
                        <a:spcBef>
                          <a:spcPts val="320"/>
                        </a:spcBef>
                      </a:pPr>
                      <a:r>
                        <a:rPr sz="1400" spc="-95" dirty="0">
                          <a:solidFill>
                            <a:srgbClr val="FFFFFF"/>
                          </a:solidFill>
                          <a:latin typeface="Verdana"/>
                          <a:cs typeface="Verdana"/>
                        </a:rPr>
                        <a:t>$9.1B</a:t>
                      </a:r>
                      <a:endParaRPr sz="1400">
                        <a:latin typeface="Verdana"/>
                        <a:cs typeface="Verdana"/>
                      </a:endParaRPr>
                    </a:p>
                  </a:txBody>
                  <a:tcPr marL="0" marR="0" marT="40640" marB="0">
                    <a:lnT w="12700">
                      <a:solidFill>
                        <a:srgbClr val="794DFF"/>
                      </a:solidFill>
                      <a:prstDash val="solid"/>
                    </a:lnT>
                    <a:solidFill>
                      <a:srgbClr val="E4DBFE"/>
                    </a:solidFill>
                  </a:tcPr>
                </a:tc>
                <a:tc>
                  <a:txBody>
                    <a:bodyPr/>
                    <a:lstStyle/>
                    <a:p>
                      <a:pPr marR="2540" algn="ctr">
                        <a:lnSpc>
                          <a:spcPct val="100000"/>
                        </a:lnSpc>
                        <a:spcBef>
                          <a:spcPts val="320"/>
                        </a:spcBef>
                      </a:pPr>
                      <a:r>
                        <a:rPr sz="1400" spc="-170" dirty="0">
                          <a:solidFill>
                            <a:srgbClr val="FFFFFF"/>
                          </a:solidFill>
                          <a:latin typeface="Verdana"/>
                          <a:cs typeface="Verdana"/>
                        </a:rPr>
                        <a:t>10%</a:t>
                      </a:r>
                      <a:endParaRPr sz="1400">
                        <a:latin typeface="Verdana"/>
                        <a:cs typeface="Verdana"/>
                      </a:endParaRPr>
                    </a:p>
                  </a:txBody>
                  <a:tcPr marL="0" marR="0" marT="40640" marB="0">
                    <a:lnT w="12700">
                      <a:solidFill>
                        <a:srgbClr val="794DFF"/>
                      </a:solidFill>
                      <a:prstDash val="solid"/>
                    </a:lnT>
                    <a:solidFill>
                      <a:srgbClr val="E4DBFE"/>
                    </a:solidFill>
                  </a:tcPr>
                </a:tc>
                <a:extLst>
                  <a:ext uri="{0D108BD9-81ED-4DB2-BD59-A6C34878D82A}">
                    <a16:rowId xmlns:a16="http://schemas.microsoft.com/office/drawing/2014/main" val="10001"/>
                  </a:ext>
                </a:extLst>
              </a:tr>
              <a:tr h="370840">
                <a:tc>
                  <a:txBody>
                    <a:bodyPr/>
                    <a:lstStyle/>
                    <a:p>
                      <a:pPr marL="91440">
                        <a:lnSpc>
                          <a:spcPct val="100000"/>
                        </a:lnSpc>
                        <a:spcBef>
                          <a:spcPts val="320"/>
                        </a:spcBef>
                      </a:pPr>
                      <a:r>
                        <a:rPr sz="1400" spc="-80" dirty="0">
                          <a:solidFill>
                            <a:srgbClr val="FFFFFF"/>
                          </a:solidFill>
                          <a:latin typeface="Verdana"/>
                          <a:cs typeface="Verdana"/>
                        </a:rPr>
                        <a:t>Business </a:t>
                      </a:r>
                      <a:r>
                        <a:rPr sz="1400" spc="-65" dirty="0">
                          <a:solidFill>
                            <a:srgbClr val="FFFFFF"/>
                          </a:solidFill>
                          <a:latin typeface="Verdana"/>
                          <a:cs typeface="Verdana"/>
                        </a:rPr>
                        <a:t>Expenditure </a:t>
                      </a:r>
                      <a:r>
                        <a:rPr sz="1400" spc="-50" dirty="0">
                          <a:solidFill>
                            <a:srgbClr val="FFFFFF"/>
                          </a:solidFill>
                          <a:latin typeface="Verdana"/>
                          <a:cs typeface="Verdana"/>
                        </a:rPr>
                        <a:t>on </a:t>
                      </a:r>
                      <a:r>
                        <a:rPr sz="1400" spc="-70" dirty="0">
                          <a:solidFill>
                            <a:srgbClr val="FFFFFF"/>
                          </a:solidFill>
                          <a:latin typeface="Verdana"/>
                          <a:cs typeface="Verdana"/>
                        </a:rPr>
                        <a:t>R&amp;D</a:t>
                      </a:r>
                      <a:r>
                        <a:rPr sz="1400" spc="-370" dirty="0">
                          <a:solidFill>
                            <a:srgbClr val="FFFFFF"/>
                          </a:solidFill>
                          <a:latin typeface="Verdana"/>
                          <a:cs typeface="Verdana"/>
                        </a:rPr>
                        <a:t> </a:t>
                      </a:r>
                      <a:r>
                        <a:rPr sz="1400" spc="-130" dirty="0">
                          <a:solidFill>
                            <a:srgbClr val="FFFFFF"/>
                          </a:solidFill>
                          <a:latin typeface="Verdana"/>
                          <a:cs typeface="Verdana"/>
                        </a:rPr>
                        <a:t>(BERD)</a:t>
                      </a:r>
                      <a:endParaRPr sz="1400">
                        <a:latin typeface="Verdana"/>
                        <a:cs typeface="Verdana"/>
                      </a:endParaRPr>
                    </a:p>
                  </a:txBody>
                  <a:tcPr marL="0" marR="0" marT="40640" marB="0">
                    <a:solidFill>
                      <a:srgbClr val="999999"/>
                    </a:solidFill>
                  </a:tcPr>
                </a:tc>
                <a:tc>
                  <a:txBody>
                    <a:bodyPr/>
                    <a:lstStyle/>
                    <a:p>
                      <a:pPr marR="908685" algn="r">
                        <a:lnSpc>
                          <a:spcPct val="100000"/>
                        </a:lnSpc>
                        <a:spcBef>
                          <a:spcPts val="320"/>
                        </a:spcBef>
                      </a:pPr>
                      <a:r>
                        <a:rPr sz="1400" spc="5" dirty="0">
                          <a:solidFill>
                            <a:srgbClr val="FFFFFF"/>
                          </a:solidFill>
                          <a:latin typeface="Verdana"/>
                          <a:cs typeface="Verdana"/>
                        </a:rPr>
                        <a:t>$0</a:t>
                      </a:r>
                      <a:r>
                        <a:rPr sz="1400" dirty="0">
                          <a:solidFill>
                            <a:srgbClr val="FFFFFF"/>
                          </a:solidFill>
                          <a:latin typeface="Verdana"/>
                          <a:cs typeface="Verdana"/>
                        </a:rPr>
                        <a:t>.</a:t>
                      </a:r>
                      <a:r>
                        <a:rPr sz="1400" spc="5" dirty="0">
                          <a:solidFill>
                            <a:srgbClr val="FFFFFF"/>
                          </a:solidFill>
                          <a:latin typeface="Verdana"/>
                          <a:cs typeface="Verdana"/>
                        </a:rPr>
                        <a:t>4</a:t>
                      </a:r>
                      <a:r>
                        <a:rPr sz="1400" dirty="0">
                          <a:solidFill>
                            <a:srgbClr val="FFFFFF"/>
                          </a:solidFill>
                          <a:latin typeface="Verdana"/>
                          <a:cs typeface="Verdana"/>
                        </a:rPr>
                        <a:t>B</a:t>
                      </a:r>
                      <a:endParaRPr sz="1400">
                        <a:latin typeface="Verdana"/>
                        <a:cs typeface="Verdana"/>
                      </a:endParaRPr>
                    </a:p>
                  </a:txBody>
                  <a:tcPr marL="0" marR="0" marT="40640" marB="0">
                    <a:solidFill>
                      <a:srgbClr val="999999"/>
                    </a:solidFill>
                  </a:tcPr>
                </a:tc>
                <a:tc>
                  <a:txBody>
                    <a:bodyPr/>
                    <a:lstStyle/>
                    <a:p>
                      <a:pPr marL="48895" algn="ctr">
                        <a:lnSpc>
                          <a:spcPct val="100000"/>
                        </a:lnSpc>
                        <a:spcBef>
                          <a:spcPts val="320"/>
                        </a:spcBef>
                      </a:pPr>
                      <a:r>
                        <a:rPr sz="1400" spc="-95" dirty="0">
                          <a:solidFill>
                            <a:srgbClr val="FFFFFF"/>
                          </a:solidFill>
                          <a:latin typeface="Verdana"/>
                          <a:cs typeface="Verdana"/>
                        </a:rPr>
                        <a:t>$5.4B</a:t>
                      </a:r>
                      <a:endParaRPr sz="1400">
                        <a:latin typeface="Verdana"/>
                        <a:cs typeface="Verdana"/>
                      </a:endParaRPr>
                    </a:p>
                  </a:txBody>
                  <a:tcPr marL="0" marR="0" marT="40640" marB="0">
                    <a:solidFill>
                      <a:srgbClr val="999999"/>
                    </a:solidFill>
                  </a:tcPr>
                </a:tc>
                <a:tc>
                  <a:txBody>
                    <a:bodyPr/>
                    <a:lstStyle/>
                    <a:p>
                      <a:pPr marR="1270" algn="ctr">
                        <a:lnSpc>
                          <a:spcPct val="100000"/>
                        </a:lnSpc>
                        <a:spcBef>
                          <a:spcPts val="320"/>
                        </a:spcBef>
                      </a:pPr>
                      <a:r>
                        <a:rPr sz="1400" spc="-150" dirty="0">
                          <a:solidFill>
                            <a:srgbClr val="FFFFFF"/>
                          </a:solidFill>
                          <a:latin typeface="Verdana"/>
                          <a:cs typeface="Verdana"/>
                        </a:rPr>
                        <a:t>10.1%</a:t>
                      </a:r>
                      <a:endParaRPr sz="1400">
                        <a:latin typeface="Verdana"/>
                        <a:cs typeface="Verdana"/>
                      </a:endParaRPr>
                    </a:p>
                  </a:txBody>
                  <a:tcPr marL="0" marR="0" marT="40640" marB="0">
                    <a:solidFill>
                      <a:srgbClr val="999999"/>
                    </a:solidFill>
                  </a:tcPr>
                </a:tc>
                <a:extLst>
                  <a:ext uri="{0D108BD9-81ED-4DB2-BD59-A6C34878D82A}">
                    <a16:rowId xmlns:a16="http://schemas.microsoft.com/office/drawing/2014/main" val="10002"/>
                  </a:ext>
                </a:extLst>
              </a:tr>
              <a:tr h="370839">
                <a:tc>
                  <a:txBody>
                    <a:bodyPr/>
                    <a:lstStyle/>
                    <a:p>
                      <a:pPr marL="91440">
                        <a:lnSpc>
                          <a:spcPct val="100000"/>
                        </a:lnSpc>
                        <a:spcBef>
                          <a:spcPts val="320"/>
                        </a:spcBef>
                      </a:pPr>
                      <a:r>
                        <a:rPr sz="1400" spc="-45" dirty="0">
                          <a:solidFill>
                            <a:srgbClr val="FFFFFF"/>
                          </a:solidFill>
                          <a:latin typeface="Verdana"/>
                          <a:cs typeface="Verdana"/>
                        </a:rPr>
                        <a:t>Public</a:t>
                      </a:r>
                      <a:r>
                        <a:rPr sz="1400" spc="-385" dirty="0">
                          <a:solidFill>
                            <a:srgbClr val="FFFFFF"/>
                          </a:solidFill>
                          <a:latin typeface="Verdana"/>
                          <a:cs typeface="Verdana"/>
                        </a:rPr>
                        <a:t> </a:t>
                      </a:r>
                      <a:r>
                        <a:rPr sz="1400" spc="-65" dirty="0">
                          <a:solidFill>
                            <a:srgbClr val="FFFFFF"/>
                          </a:solidFill>
                          <a:latin typeface="Verdana"/>
                          <a:cs typeface="Verdana"/>
                        </a:rPr>
                        <a:t>Expenditure </a:t>
                      </a:r>
                      <a:r>
                        <a:rPr sz="1400" spc="-50" dirty="0">
                          <a:solidFill>
                            <a:srgbClr val="FFFFFF"/>
                          </a:solidFill>
                          <a:latin typeface="Verdana"/>
                          <a:cs typeface="Verdana"/>
                        </a:rPr>
                        <a:t>on </a:t>
                      </a:r>
                      <a:r>
                        <a:rPr sz="1400" spc="-70" dirty="0">
                          <a:solidFill>
                            <a:srgbClr val="FFFFFF"/>
                          </a:solidFill>
                          <a:latin typeface="Verdana"/>
                          <a:cs typeface="Verdana"/>
                        </a:rPr>
                        <a:t>R&amp;D </a:t>
                      </a:r>
                      <a:r>
                        <a:rPr sz="1400" spc="-105" dirty="0">
                          <a:solidFill>
                            <a:srgbClr val="FFFFFF"/>
                          </a:solidFill>
                          <a:latin typeface="Verdana"/>
                          <a:cs typeface="Verdana"/>
                        </a:rPr>
                        <a:t>(PUBERD)</a:t>
                      </a:r>
                      <a:endParaRPr sz="1400">
                        <a:latin typeface="Verdana"/>
                        <a:cs typeface="Verdana"/>
                      </a:endParaRPr>
                    </a:p>
                  </a:txBody>
                  <a:tcPr marL="0" marR="0" marT="40640" marB="0">
                    <a:solidFill>
                      <a:srgbClr val="E4DBFE"/>
                    </a:solidFill>
                  </a:tcPr>
                </a:tc>
                <a:tc>
                  <a:txBody>
                    <a:bodyPr/>
                    <a:lstStyle/>
                    <a:p>
                      <a:pPr marR="908685" algn="r">
                        <a:lnSpc>
                          <a:spcPct val="100000"/>
                        </a:lnSpc>
                        <a:spcBef>
                          <a:spcPts val="320"/>
                        </a:spcBef>
                      </a:pPr>
                      <a:r>
                        <a:rPr sz="1400" spc="5" dirty="0">
                          <a:solidFill>
                            <a:srgbClr val="FFFFFF"/>
                          </a:solidFill>
                          <a:latin typeface="Verdana"/>
                          <a:cs typeface="Verdana"/>
                        </a:rPr>
                        <a:t>$0</a:t>
                      </a:r>
                      <a:r>
                        <a:rPr sz="1400" dirty="0">
                          <a:solidFill>
                            <a:srgbClr val="FFFFFF"/>
                          </a:solidFill>
                          <a:latin typeface="Verdana"/>
                          <a:cs typeface="Verdana"/>
                        </a:rPr>
                        <a:t>.</a:t>
                      </a:r>
                      <a:r>
                        <a:rPr sz="1400" spc="5" dirty="0">
                          <a:solidFill>
                            <a:srgbClr val="FFFFFF"/>
                          </a:solidFill>
                          <a:latin typeface="Verdana"/>
                          <a:cs typeface="Verdana"/>
                        </a:rPr>
                        <a:t>3</a:t>
                      </a:r>
                      <a:r>
                        <a:rPr sz="1400" dirty="0">
                          <a:solidFill>
                            <a:srgbClr val="FFFFFF"/>
                          </a:solidFill>
                          <a:latin typeface="Verdana"/>
                          <a:cs typeface="Verdana"/>
                        </a:rPr>
                        <a:t>B</a:t>
                      </a:r>
                      <a:endParaRPr sz="1400">
                        <a:latin typeface="Verdana"/>
                        <a:cs typeface="Verdana"/>
                      </a:endParaRPr>
                    </a:p>
                  </a:txBody>
                  <a:tcPr marL="0" marR="0" marT="40640" marB="0">
                    <a:solidFill>
                      <a:srgbClr val="E4DBFE"/>
                    </a:solidFill>
                  </a:tcPr>
                </a:tc>
                <a:tc>
                  <a:txBody>
                    <a:bodyPr/>
                    <a:lstStyle/>
                    <a:p>
                      <a:pPr marL="48895" algn="ctr">
                        <a:lnSpc>
                          <a:spcPct val="100000"/>
                        </a:lnSpc>
                        <a:spcBef>
                          <a:spcPts val="320"/>
                        </a:spcBef>
                      </a:pPr>
                      <a:r>
                        <a:rPr sz="1400" spc="-95" dirty="0">
                          <a:solidFill>
                            <a:srgbClr val="FFFFFF"/>
                          </a:solidFill>
                          <a:latin typeface="Verdana"/>
                          <a:cs typeface="Verdana"/>
                        </a:rPr>
                        <a:t>$3.7B</a:t>
                      </a:r>
                      <a:endParaRPr sz="1400">
                        <a:latin typeface="Verdana"/>
                        <a:cs typeface="Verdana"/>
                      </a:endParaRPr>
                    </a:p>
                  </a:txBody>
                  <a:tcPr marL="0" marR="0" marT="40640" marB="0">
                    <a:solidFill>
                      <a:srgbClr val="E4DBFE"/>
                    </a:solidFill>
                  </a:tcPr>
                </a:tc>
                <a:tc>
                  <a:txBody>
                    <a:bodyPr/>
                    <a:lstStyle/>
                    <a:p>
                      <a:pPr marR="635" algn="ctr">
                        <a:lnSpc>
                          <a:spcPct val="100000"/>
                        </a:lnSpc>
                        <a:spcBef>
                          <a:spcPts val="320"/>
                        </a:spcBef>
                      </a:pPr>
                      <a:r>
                        <a:rPr sz="1400" spc="-165" dirty="0">
                          <a:solidFill>
                            <a:srgbClr val="FFFFFF"/>
                          </a:solidFill>
                          <a:latin typeface="Verdana"/>
                          <a:cs typeface="Verdana"/>
                        </a:rPr>
                        <a:t>9.9%</a:t>
                      </a:r>
                      <a:endParaRPr sz="1400">
                        <a:latin typeface="Verdana"/>
                        <a:cs typeface="Verdana"/>
                      </a:endParaRPr>
                    </a:p>
                  </a:txBody>
                  <a:tcPr marL="0" marR="0" marT="40640" marB="0">
                    <a:solidFill>
                      <a:srgbClr val="E4DBFE"/>
                    </a:solidFill>
                  </a:tcPr>
                </a:tc>
                <a:extLst>
                  <a:ext uri="{0D108BD9-81ED-4DB2-BD59-A6C34878D82A}">
                    <a16:rowId xmlns:a16="http://schemas.microsoft.com/office/drawing/2014/main" val="10003"/>
                  </a:ext>
                </a:extLst>
              </a:tr>
              <a:tr h="370890">
                <a:tc>
                  <a:txBody>
                    <a:bodyPr/>
                    <a:lstStyle/>
                    <a:p>
                      <a:pPr marL="91440">
                        <a:lnSpc>
                          <a:spcPct val="100000"/>
                        </a:lnSpc>
                        <a:spcBef>
                          <a:spcPts val="320"/>
                        </a:spcBef>
                      </a:pPr>
                      <a:r>
                        <a:rPr sz="1400" spc="-65" dirty="0">
                          <a:solidFill>
                            <a:srgbClr val="FFFFFF"/>
                          </a:solidFill>
                          <a:latin typeface="Verdana"/>
                          <a:cs typeface="Verdana"/>
                        </a:rPr>
                        <a:t>GERD </a:t>
                      </a:r>
                      <a:r>
                        <a:rPr sz="1400" spc="-110" dirty="0">
                          <a:solidFill>
                            <a:srgbClr val="FFFFFF"/>
                          </a:solidFill>
                          <a:latin typeface="Verdana"/>
                          <a:cs typeface="Verdana"/>
                        </a:rPr>
                        <a:t>as </a:t>
                      </a:r>
                      <a:r>
                        <a:rPr sz="1400" spc="-60" dirty="0">
                          <a:solidFill>
                            <a:srgbClr val="FFFFFF"/>
                          </a:solidFill>
                          <a:latin typeface="Verdana"/>
                          <a:cs typeface="Verdana"/>
                        </a:rPr>
                        <a:t>percentaage </a:t>
                      </a:r>
                      <a:r>
                        <a:rPr sz="1400" spc="-50" dirty="0">
                          <a:solidFill>
                            <a:srgbClr val="FFFFFF"/>
                          </a:solidFill>
                          <a:latin typeface="Verdana"/>
                          <a:cs typeface="Verdana"/>
                        </a:rPr>
                        <a:t>of</a:t>
                      </a:r>
                      <a:r>
                        <a:rPr sz="1400" spc="-229" dirty="0">
                          <a:solidFill>
                            <a:srgbClr val="FFFFFF"/>
                          </a:solidFill>
                          <a:latin typeface="Verdana"/>
                          <a:cs typeface="Verdana"/>
                        </a:rPr>
                        <a:t> </a:t>
                      </a:r>
                      <a:r>
                        <a:rPr sz="1400" spc="-25" dirty="0">
                          <a:solidFill>
                            <a:srgbClr val="FFFFFF"/>
                          </a:solidFill>
                          <a:latin typeface="Verdana"/>
                          <a:cs typeface="Verdana"/>
                        </a:rPr>
                        <a:t>GDP</a:t>
                      </a:r>
                      <a:endParaRPr sz="1400">
                        <a:latin typeface="Verdana"/>
                        <a:cs typeface="Verdana"/>
                      </a:endParaRPr>
                    </a:p>
                  </a:txBody>
                  <a:tcPr marL="0" marR="0" marT="40640" marB="0">
                    <a:solidFill>
                      <a:srgbClr val="999999"/>
                    </a:solidFill>
                  </a:tcPr>
                </a:tc>
                <a:tc>
                  <a:txBody>
                    <a:bodyPr/>
                    <a:lstStyle/>
                    <a:p>
                      <a:pPr marR="889635" algn="r">
                        <a:lnSpc>
                          <a:spcPct val="100000"/>
                        </a:lnSpc>
                        <a:spcBef>
                          <a:spcPts val="320"/>
                        </a:spcBef>
                      </a:pPr>
                      <a:r>
                        <a:rPr sz="1400" spc="5" dirty="0">
                          <a:solidFill>
                            <a:srgbClr val="FFFFFF"/>
                          </a:solidFill>
                          <a:latin typeface="Verdana"/>
                          <a:cs typeface="Verdana"/>
                        </a:rPr>
                        <a:t>0</a:t>
                      </a:r>
                      <a:r>
                        <a:rPr sz="1400" dirty="0">
                          <a:solidFill>
                            <a:srgbClr val="FFFFFF"/>
                          </a:solidFill>
                          <a:latin typeface="Verdana"/>
                          <a:cs typeface="Verdana"/>
                        </a:rPr>
                        <a:t>.</a:t>
                      </a:r>
                      <a:r>
                        <a:rPr sz="1400" spc="5" dirty="0">
                          <a:solidFill>
                            <a:srgbClr val="FFFFFF"/>
                          </a:solidFill>
                          <a:latin typeface="Verdana"/>
                          <a:cs typeface="Verdana"/>
                        </a:rPr>
                        <a:t>96</a:t>
                      </a:r>
                      <a:r>
                        <a:rPr sz="1400" dirty="0">
                          <a:solidFill>
                            <a:srgbClr val="FFFFFF"/>
                          </a:solidFill>
                          <a:latin typeface="Verdana"/>
                          <a:cs typeface="Verdana"/>
                        </a:rPr>
                        <a:t>%</a:t>
                      </a:r>
                      <a:endParaRPr sz="1400">
                        <a:latin typeface="Verdana"/>
                        <a:cs typeface="Verdana"/>
                      </a:endParaRPr>
                    </a:p>
                  </a:txBody>
                  <a:tcPr marL="0" marR="0" marT="40640" marB="0">
                    <a:solidFill>
                      <a:srgbClr val="999999"/>
                    </a:solidFill>
                  </a:tcPr>
                </a:tc>
                <a:tc>
                  <a:txBody>
                    <a:bodyPr/>
                    <a:lstStyle/>
                    <a:p>
                      <a:pPr marL="52705" algn="ctr">
                        <a:lnSpc>
                          <a:spcPct val="100000"/>
                        </a:lnSpc>
                        <a:spcBef>
                          <a:spcPts val="320"/>
                        </a:spcBef>
                      </a:pPr>
                      <a:r>
                        <a:rPr sz="1400" spc="-150" dirty="0">
                          <a:solidFill>
                            <a:srgbClr val="FFFFFF"/>
                          </a:solidFill>
                          <a:latin typeface="Verdana"/>
                          <a:cs typeface="Verdana"/>
                        </a:rPr>
                        <a:t>1.94%</a:t>
                      </a:r>
                      <a:endParaRPr sz="1400">
                        <a:latin typeface="Verdana"/>
                        <a:cs typeface="Verdana"/>
                      </a:endParaRPr>
                    </a:p>
                  </a:txBody>
                  <a:tcPr marL="0" marR="0" marT="40640" marB="0">
                    <a:solidFill>
                      <a:srgbClr val="999999"/>
                    </a:solidFill>
                  </a:tcPr>
                </a:tc>
                <a:tc>
                  <a:txBody>
                    <a:bodyPr/>
                    <a:lstStyle/>
                    <a:p>
                      <a:pPr marR="2540" algn="ctr">
                        <a:lnSpc>
                          <a:spcPct val="100000"/>
                        </a:lnSpc>
                        <a:spcBef>
                          <a:spcPts val="320"/>
                        </a:spcBef>
                      </a:pPr>
                      <a:r>
                        <a:rPr sz="1400" dirty="0">
                          <a:solidFill>
                            <a:srgbClr val="FFFFFF"/>
                          </a:solidFill>
                          <a:latin typeface="Verdana"/>
                          <a:cs typeface="Verdana"/>
                        </a:rPr>
                        <a:t>-</a:t>
                      </a:r>
                      <a:endParaRPr sz="1400">
                        <a:latin typeface="Verdana"/>
                        <a:cs typeface="Verdana"/>
                      </a:endParaRPr>
                    </a:p>
                  </a:txBody>
                  <a:tcPr marL="0" marR="0" marT="40640" marB="0">
                    <a:solidFill>
                      <a:srgbClr val="999999"/>
                    </a:solidFill>
                  </a:tcPr>
                </a:tc>
                <a:extLst>
                  <a:ext uri="{0D108BD9-81ED-4DB2-BD59-A6C34878D82A}">
                    <a16:rowId xmlns:a16="http://schemas.microsoft.com/office/drawing/2014/main" val="10004"/>
                  </a:ext>
                </a:extLst>
              </a:tr>
              <a:tr h="370840">
                <a:tc>
                  <a:txBody>
                    <a:bodyPr/>
                    <a:lstStyle/>
                    <a:p>
                      <a:pPr marL="91440">
                        <a:lnSpc>
                          <a:spcPct val="100000"/>
                        </a:lnSpc>
                        <a:spcBef>
                          <a:spcPts val="320"/>
                        </a:spcBef>
                      </a:pPr>
                      <a:r>
                        <a:rPr sz="1400" spc="-80" dirty="0">
                          <a:solidFill>
                            <a:srgbClr val="FFFFFF"/>
                          </a:solidFill>
                          <a:latin typeface="Verdana"/>
                          <a:cs typeface="Verdana"/>
                        </a:rPr>
                        <a:t>BERD </a:t>
                      </a:r>
                      <a:r>
                        <a:rPr sz="1400" spc="-110" dirty="0">
                          <a:solidFill>
                            <a:srgbClr val="FFFFFF"/>
                          </a:solidFill>
                          <a:latin typeface="Verdana"/>
                          <a:cs typeface="Verdana"/>
                        </a:rPr>
                        <a:t>as </a:t>
                      </a:r>
                      <a:r>
                        <a:rPr sz="1400" spc="-55" dirty="0">
                          <a:solidFill>
                            <a:srgbClr val="FFFFFF"/>
                          </a:solidFill>
                          <a:latin typeface="Verdana"/>
                          <a:cs typeface="Verdana"/>
                        </a:rPr>
                        <a:t>percentage </a:t>
                      </a:r>
                      <a:r>
                        <a:rPr sz="1400" spc="-50" dirty="0">
                          <a:solidFill>
                            <a:srgbClr val="FFFFFF"/>
                          </a:solidFill>
                          <a:latin typeface="Verdana"/>
                          <a:cs typeface="Verdana"/>
                        </a:rPr>
                        <a:t>of</a:t>
                      </a:r>
                      <a:r>
                        <a:rPr sz="1400" spc="-270" dirty="0">
                          <a:solidFill>
                            <a:srgbClr val="FFFFFF"/>
                          </a:solidFill>
                          <a:latin typeface="Verdana"/>
                          <a:cs typeface="Verdana"/>
                        </a:rPr>
                        <a:t> </a:t>
                      </a:r>
                      <a:r>
                        <a:rPr sz="1400" spc="-25" dirty="0">
                          <a:solidFill>
                            <a:srgbClr val="FFFFFF"/>
                          </a:solidFill>
                          <a:latin typeface="Verdana"/>
                          <a:cs typeface="Verdana"/>
                        </a:rPr>
                        <a:t>GDP</a:t>
                      </a:r>
                      <a:endParaRPr sz="1400">
                        <a:latin typeface="Verdana"/>
                        <a:cs typeface="Verdana"/>
                      </a:endParaRPr>
                    </a:p>
                  </a:txBody>
                  <a:tcPr marL="0" marR="0" marT="40640" marB="0">
                    <a:lnB w="12700">
                      <a:solidFill>
                        <a:srgbClr val="794DFF"/>
                      </a:solidFill>
                      <a:prstDash val="solid"/>
                    </a:lnB>
                    <a:solidFill>
                      <a:srgbClr val="E4DBFE"/>
                    </a:solidFill>
                  </a:tcPr>
                </a:tc>
                <a:tc>
                  <a:txBody>
                    <a:bodyPr/>
                    <a:lstStyle/>
                    <a:p>
                      <a:pPr marR="889000" algn="r">
                        <a:lnSpc>
                          <a:spcPct val="100000"/>
                        </a:lnSpc>
                        <a:spcBef>
                          <a:spcPts val="320"/>
                        </a:spcBef>
                      </a:pPr>
                      <a:r>
                        <a:rPr sz="1400" spc="5" dirty="0">
                          <a:solidFill>
                            <a:srgbClr val="FFFFFF"/>
                          </a:solidFill>
                          <a:latin typeface="Verdana"/>
                          <a:cs typeface="Verdana"/>
                        </a:rPr>
                        <a:t>0</a:t>
                      </a:r>
                      <a:r>
                        <a:rPr sz="1400" dirty="0">
                          <a:solidFill>
                            <a:srgbClr val="FFFFFF"/>
                          </a:solidFill>
                          <a:latin typeface="Verdana"/>
                          <a:cs typeface="Verdana"/>
                        </a:rPr>
                        <a:t>.5</a:t>
                      </a:r>
                      <a:r>
                        <a:rPr sz="1400" spc="5" dirty="0">
                          <a:solidFill>
                            <a:srgbClr val="FFFFFF"/>
                          </a:solidFill>
                          <a:latin typeface="Verdana"/>
                          <a:cs typeface="Verdana"/>
                        </a:rPr>
                        <a:t>6</a:t>
                      </a:r>
                      <a:r>
                        <a:rPr sz="1400" dirty="0">
                          <a:solidFill>
                            <a:srgbClr val="FFFFFF"/>
                          </a:solidFill>
                          <a:latin typeface="Verdana"/>
                          <a:cs typeface="Verdana"/>
                        </a:rPr>
                        <a:t>%</a:t>
                      </a:r>
                      <a:endParaRPr sz="1400">
                        <a:latin typeface="Verdana"/>
                        <a:cs typeface="Verdana"/>
                      </a:endParaRPr>
                    </a:p>
                  </a:txBody>
                  <a:tcPr marL="0" marR="0" marT="40640" marB="0">
                    <a:lnB w="12700">
                      <a:solidFill>
                        <a:srgbClr val="794DFF"/>
                      </a:solidFill>
                      <a:prstDash val="solid"/>
                    </a:lnB>
                    <a:solidFill>
                      <a:srgbClr val="E4DBFE"/>
                    </a:solidFill>
                  </a:tcPr>
                </a:tc>
                <a:tc>
                  <a:txBody>
                    <a:bodyPr/>
                    <a:lstStyle/>
                    <a:p>
                      <a:pPr marL="53340" algn="ctr">
                        <a:lnSpc>
                          <a:spcPct val="100000"/>
                        </a:lnSpc>
                        <a:spcBef>
                          <a:spcPts val="320"/>
                        </a:spcBef>
                      </a:pPr>
                      <a:r>
                        <a:rPr sz="1400" spc="-150" dirty="0">
                          <a:solidFill>
                            <a:srgbClr val="FFFFFF"/>
                          </a:solidFill>
                          <a:latin typeface="Verdana"/>
                          <a:cs typeface="Verdana"/>
                        </a:rPr>
                        <a:t>1.16%</a:t>
                      </a:r>
                      <a:endParaRPr sz="1400">
                        <a:latin typeface="Verdana"/>
                        <a:cs typeface="Verdana"/>
                      </a:endParaRPr>
                    </a:p>
                  </a:txBody>
                  <a:tcPr marL="0" marR="0" marT="40640" marB="0">
                    <a:lnB w="12700">
                      <a:solidFill>
                        <a:srgbClr val="794DFF"/>
                      </a:solidFill>
                      <a:prstDash val="solid"/>
                    </a:lnB>
                    <a:solidFill>
                      <a:srgbClr val="E4DBFE"/>
                    </a:solidFill>
                  </a:tcPr>
                </a:tc>
                <a:tc>
                  <a:txBody>
                    <a:bodyPr/>
                    <a:lstStyle/>
                    <a:p>
                      <a:pPr marR="2540" algn="ctr">
                        <a:lnSpc>
                          <a:spcPct val="100000"/>
                        </a:lnSpc>
                        <a:spcBef>
                          <a:spcPts val="320"/>
                        </a:spcBef>
                      </a:pPr>
                      <a:r>
                        <a:rPr sz="1400" dirty="0">
                          <a:solidFill>
                            <a:srgbClr val="FFFFFF"/>
                          </a:solidFill>
                          <a:latin typeface="Verdana"/>
                          <a:cs typeface="Verdana"/>
                        </a:rPr>
                        <a:t>-</a:t>
                      </a:r>
                      <a:endParaRPr sz="1400">
                        <a:latin typeface="Verdana"/>
                        <a:cs typeface="Verdana"/>
                      </a:endParaRPr>
                    </a:p>
                  </a:txBody>
                  <a:tcPr marL="0" marR="0" marT="40640" marB="0">
                    <a:lnB w="12700">
                      <a:solidFill>
                        <a:srgbClr val="794DFF"/>
                      </a:solidFill>
                      <a:prstDash val="solid"/>
                    </a:lnB>
                    <a:solidFill>
                      <a:srgbClr val="E4DBFE"/>
                    </a:solidFill>
                  </a:tcPr>
                </a:tc>
                <a:extLst>
                  <a:ext uri="{0D108BD9-81ED-4DB2-BD59-A6C34878D82A}">
                    <a16:rowId xmlns:a16="http://schemas.microsoft.com/office/drawing/2014/main" val="10005"/>
                  </a:ext>
                </a:extLst>
              </a:tr>
            </a:tbl>
          </a:graphicData>
        </a:graphic>
      </p:graphicFrame>
      <p:sp>
        <p:nvSpPr>
          <p:cNvPr id="40" name="object 40"/>
          <p:cNvSpPr txBox="1"/>
          <p:nvPr/>
        </p:nvSpPr>
        <p:spPr>
          <a:xfrm>
            <a:off x="615187" y="6549338"/>
            <a:ext cx="2724150" cy="238125"/>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s: </a:t>
            </a:r>
            <a:r>
              <a:rPr kumimoji="0" sz="1400" b="0" i="0" u="none" strike="noStrike" kern="1200" cap="none" spc="-160" normalizeH="0" baseline="0" noProof="0" dirty="0">
                <a:ln>
                  <a:noFill/>
                </a:ln>
                <a:solidFill>
                  <a:srgbClr val="FFFFFF"/>
                </a:solidFill>
                <a:effectLst/>
                <a:uLnTx/>
                <a:uFillTx/>
                <a:latin typeface="Verdana"/>
                <a:ea typeface="+mn-ea"/>
                <a:cs typeface="Verdana"/>
              </a:rPr>
              <a:t>IPI, </a:t>
            </a:r>
            <a:r>
              <a:rPr kumimoji="0" sz="1400" b="0" i="0" u="none" strike="noStrike" kern="1200" cap="none" spc="-65" normalizeH="0" baseline="0" noProof="0" dirty="0">
                <a:ln>
                  <a:noFill/>
                </a:ln>
                <a:solidFill>
                  <a:srgbClr val="FFFFFF"/>
                </a:solidFill>
                <a:effectLst/>
                <a:uLnTx/>
                <a:uFillTx/>
                <a:latin typeface="Verdana"/>
                <a:ea typeface="+mn-ea"/>
                <a:cs typeface="Verdana"/>
              </a:rPr>
              <a:t>National </a:t>
            </a:r>
            <a:r>
              <a:rPr kumimoji="0" sz="1400" b="0" i="0" u="none" strike="noStrike" kern="1200" cap="none" spc="-70" normalizeH="0" baseline="0" noProof="0" dirty="0">
                <a:ln>
                  <a:noFill/>
                </a:ln>
                <a:solidFill>
                  <a:srgbClr val="FFFFFF"/>
                </a:solidFill>
                <a:effectLst/>
                <a:uLnTx/>
                <a:uFillTx/>
                <a:latin typeface="Verdana"/>
                <a:ea typeface="+mn-ea"/>
                <a:cs typeface="Verdana"/>
              </a:rPr>
              <a:t>R&amp;D</a:t>
            </a:r>
            <a:r>
              <a:rPr kumimoji="0" sz="1400" b="0" i="0" u="none" strike="noStrike" kern="1200" cap="none" spc="-220" normalizeH="0" baseline="0" noProof="0" dirty="0">
                <a:ln>
                  <a:noFill/>
                </a:ln>
                <a:solidFill>
                  <a:srgbClr val="FFFFFF"/>
                </a:solidFill>
                <a:effectLst/>
                <a:uLnTx/>
                <a:uFillTx/>
                <a:latin typeface="Verdana"/>
                <a:ea typeface="+mn-ea"/>
                <a:cs typeface="Verdana"/>
              </a:rPr>
              <a:t> </a:t>
            </a:r>
            <a:r>
              <a:rPr kumimoji="0" sz="1400" b="0" i="0" u="none" strike="noStrike" kern="1200" cap="none" spc="-120" normalizeH="0" baseline="0" noProof="0" dirty="0">
                <a:ln>
                  <a:noFill/>
                </a:ln>
                <a:solidFill>
                  <a:srgbClr val="FFFFFF"/>
                </a:solidFill>
                <a:effectLst/>
                <a:uLnTx/>
                <a:uFillTx/>
                <a:latin typeface="Verdana"/>
                <a:ea typeface="+mn-ea"/>
                <a:cs typeface="Verdana"/>
              </a:rPr>
              <a:t>Survey</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41" name="object 41"/>
          <p:cNvSpPr txBox="1">
            <a:spLocks noGrp="1"/>
          </p:cNvSpPr>
          <p:nvPr>
            <p:ph type="title"/>
          </p:nvPr>
        </p:nvSpPr>
        <p:spPr>
          <a:xfrm>
            <a:off x="453644" y="57734"/>
            <a:ext cx="11099800" cy="636905"/>
          </a:xfrm>
          <a:prstGeom prst="rect">
            <a:avLst/>
          </a:prstGeom>
        </p:spPr>
        <p:txBody>
          <a:bodyPr vert="horz" wrap="square" lIns="0" tIns="13970" rIns="0" bIns="0" rtlCol="0">
            <a:spAutoFit/>
          </a:bodyPr>
          <a:lstStyle/>
          <a:p>
            <a:pPr marL="12700">
              <a:lnSpc>
                <a:spcPct val="100000"/>
              </a:lnSpc>
              <a:spcBef>
                <a:spcPts val="110"/>
              </a:spcBef>
              <a:tabLst>
                <a:tab pos="991869" algn="l"/>
                <a:tab pos="11086465" algn="l"/>
              </a:tabLst>
            </a:pPr>
            <a:r>
              <a:rPr sz="4000" u="sng" dirty="0">
                <a:uFill>
                  <a:solidFill>
                    <a:srgbClr val="00B9C7"/>
                  </a:solidFill>
                </a:uFill>
                <a:latin typeface="Times New Roman"/>
                <a:cs typeface="Times New Roman"/>
              </a:rPr>
              <a:t> 	</a:t>
            </a:r>
            <a:r>
              <a:rPr sz="4000" u="sng" spc="270" dirty="0">
                <a:uFill>
                  <a:solidFill>
                    <a:srgbClr val="00B9C7"/>
                  </a:solidFill>
                </a:uFill>
              </a:rPr>
              <a:t>Singapore’s </a:t>
            </a:r>
            <a:r>
              <a:rPr sz="4000" u="sng" spc="295" dirty="0">
                <a:uFill>
                  <a:solidFill>
                    <a:srgbClr val="00B9C7"/>
                  </a:solidFill>
                </a:uFill>
              </a:rPr>
              <a:t>Innovation</a:t>
            </a:r>
            <a:r>
              <a:rPr sz="4000" u="sng" spc="-295" dirty="0">
                <a:uFill>
                  <a:solidFill>
                    <a:srgbClr val="00B9C7"/>
                  </a:solidFill>
                </a:uFill>
              </a:rPr>
              <a:t> </a:t>
            </a:r>
            <a:r>
              <a:rPr sz="4000" u="sng" spc="400" dirty="0">
                <a:uFill>
                  <a:solidFill>
                    <a:srgbClr val="00B9C7"/>
                  </a:solidFill>
                </a:uFill>
              </a:rPr>
              <a:t>Journey	</a:t>
            </a:r>
            <a:endParaRPr sz="4000">
              <a:latin typeface="Times New Roman"/>
              <a:cs typeface="Times New Roman"/>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303" y="239014"/>
            <a:ext cx="9428480" cy="1068070"/>
          </a:xfrm>
          <a:prstGeom prst="rect">
            <a:avLst/>
          </a:prstGeom>
        </p:spPr>
        <p:txBody>
          <a:bodyPr vert="horz" wrap="square" lIns="0" tIns="74295" rIns="0" bIns="0" rtlCol="0">
            <a:spAutoFit/>
          </a:bodyPr>
          <a:lstStyle/>
          <a:p>
            <a:pPr marL="12700" marR="5080">
              <a:lnSpc>
                <a:spcPts val="3890"/>
              </a:lnSpc>
              <a:spcBef>
                <a:spcPts val="585"/>
              </a:spcBef>
            </a:pPr>
            <a:r>
              <a:rPr sz="3600" spc="280" dirty="0"/>
              <a:t>Singapore </a:t>
            </a:r>
            <a:r>
              <a:rPr sz="3600" spc="15" dirty="0"/>
              <a:t>– </a:t>
            </a:r>
            <a:r>
              <a:rPr sz="3600" spc="240" dirty="0"/>
              <a:t>Research, </a:t>
            </a:r>
            <a:r>
              <a:rPr sz="3600" spc="295" dirty="0"/>
              <a:t>Innovation</a:t>
            </a:r>
            <a:r>
              <a:rPr sz="3600" spc="-155" dirty="0"/>
              <a:t> </a:t>
            </a:r>
            <a:r>
              <a:rPr sz="3600" spc="390" dirty="0"/>
              <a:t>&amp;  </a:t>
            </a:r>
            <a:r>
              <a:rPr sz="3600" spc="320" dirty="0"/>
              <a:t>Enterprise</a:t>
            </a:r>
            <a:endParaRPr sz="3600"/>
          </a:p>
        </p:txBody>
      </p:sp>
      <p:sp>
        <p:nvSpPr>
          <p:cNvPr id="3" name="object 3"/>
          <p:cNvSpPr/>
          <p:nvPr/>
        </p:nvSpPr>
        <p:spPr>
          <a:xfrm>
            <a:off x="466344" y="1444752"/>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10733023" y="6545681"/>
            <a:ext cx="1327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202184" y="6511849"/>
            <a:ext cx="1027430" cy="23812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a:t>
            </a:r>
            <a:r>
              <a:rPr kumimoji="0" sz="1400" b="0" i="0" u="none" strike="noStrike" kern="1200" cap="none" spc="-165" normalizeH="0" baseline="0" noProof="0" dirty="0">
                <a:ln>
                  <a:noFill/>
                </a:ln>
                <a:solidFill>
                  <a:srgbClr val="FFFFFF"/>
                </a:solidFill>
                <a:effectLst/>
                <a:uLnTx/>
                <a:uFillTx/>
                <a:latin typeface="Verdana"/>
                <a:ea typeface="+mn-ea"/>
                <a:cs typeface="Verdana"/>
              </a:rPr>
              <a:t> </a:t>
            </a:r>
            <a:r>
              <a:rPr kumimoji="0" sz="1400" b="0" i="0" u="none" strike="noStrike" kern="1200" cap="none" spc="-55" normalizeH="0" baseline="0" noProof="0" dirty="0">
                <a:ln>
                  <a:noFill/>
                </a:ln>
                <a:solidFill>
                  <a:srgbClr val="FFFFFF"/>
                </a:solidFill>
                <a:effectLst/>
                <a:uLnTx/>
                <a:uFillTx/>
                <a:latin typeface="Verdana"/>
                <a:ea typeface="+mn-ea"/>
                <a:cs typeface="Verdana"/>
              </a:rPr>
              <a:t>NRF</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p:nvPr/>
        </p:nvSpPr>
        <p:spPr>
          <a:xfrm>
            <a:off x="1490472" y="1636776"/>
            <a:ext cx="9028176" cy="4949952"/>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303" y="211277"/>
            <a:ext cx="11099165" cy="757555"/>
          </a:xfrm>
          <a:prstGeom prst="rect">
            <a:avLst/>
          </a:prstGeom>
        </p:spPr>
        <p:txBody>
          <a:bodyPr vert="horz" wrap="square" lIns="0" tIns="12700" rIns="0" bIns="0" rtlCol="0">
            <a:spAutoFit/>
          </a:bodyPr>
          <a:lstStyle/>
          <a:p>
            <a:pPr marL="12700">
              <a:lnSpc>
                <a:spcPct val="100000"/>
              </a:lnSpc>
              <a:spcBef>
                <a:spcPts val="100"/>
              </a:spcBef>
              <a:tabLst>
                <a:tab pos="11085195" algn="l"/>
              </a:tabLst>
            </a:pPr>
            <a:r>
              <a:rPr sz="4800" u="sng" spc="-50" dirty="0">
                <a:uFill>
                  <a:solidFill>
                    <a:srgbClr val="00B9C7"/>
                  </a:solidFill>
                </a:uFill>
              </a:rPr>
              <a:t>RIE </a:t>
            </a:r>
            <a:r>
              <a:rPr sz="4800" u="sng" spc="320" dirty="0">
                <a:uFill>
                  <a:solidFill>
                    <a:srgbClr val="00B9C7"/>
                  </a:solidFill>
                </a:uFill>
              </a:rPr>
              <a:t>2025</a:t>
            </a:r>
            <a:r>
              <a:rPr sz="4800" u="sng" spc="-85" dirty="0">
                <a:uFill>
                  <a:solidFill>
                    <a:srgbClr val="00B9C7"/>
                  </a:solidFill>
                </a:uFill>
              </a:rPr>
              <a:t> </a:t>
            </a:r>
            <a:r>
              <a:rPr sz="4800" u="sng" spc="315" dirty="0">
                <a:uFill>
                  <a:solidFill>
                    <a:srgbClr val="00B9C7"/>
                  </a:solidFill>
                </a:uFill>
              </a:rPr>
              <a:t>Strategy	</a:t>
            </a:r>
            <a:endParaRPr sz="4800"/>
          </a:p>
        </p:txBody>
      </p:sp>
      <p:sp>
        <p:nvSpPr>
          <p:cNvPr id="3" name="object 3"/>
          <p:cNvSpPr/>
          <p:nvPr/>
        </p:nvSpPr>
        <p:spPr>
          <a:xfrm>
            <a:off x="4242815" y="1191767"/>
            <a:ext cx="4870703" cy="5602221"/>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927303" y="2712465"/>
            <a:ext cx="2560955" cy="139763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Our </a:t>
            </a:r>
            <a:r>
              <a:rPr kumimoji="0" sz="1800" b="0" i="0" u="none" strike="noStrike" kern="1200" cap="none" spc="-135" normalizeH="0" baseline="0" noProof="0" dirty="0">
                <a:ln>
                  <a:noFill/>
                </a:ln>
                <a:solidFill>
                  <a:srgbClr val="FFFFFF"/>
                </a:solidFill>
                <a:effectLst/>
                <a:uLnTx/>
                <a:uFillTx/>
                <a:latin typeface="Verdana"/>
                <a:ea typeface="+mn-ea"/>
                <a:cs typeface="Verdana"/>
              </a:rPr>
              <a:t>RIE2025 </a:t>
            </a:r>
            <a:r>
              <a:rPr kumimoji="0" sz="1800" b="0" i="0" u="none" strike="noStrike" kern="1200" cap="none" spc="-100" normalizeH="0" baseline="0" noProof="0" dirty="0">
                <a:ln>
                  <a:noFill/>
                </a:ln>
                <a:solidFill>
                  <a:srgbClr val="FFFFFF"/>
                </a:solidFill>
                <a:effectLst/>
                <a:uLnTx/>
                <a:uFillTx/>
                <a:latin typeface="Verdana"/>
                <a:ea typeface="+mn-ea"/>
                <a:cs typeface="Verdana"/>
              </a:rPr>
              <a:t>efforts </a:t>
            </a:r>
            <a:r>
              <a:rPr kumimoji="0" sz="1800" b="0" i="0" u="none" strike="noStrike" kern="1200" cap="none" spc="-110" normalizeH="0" baseline="0" noProof="0" dirty="0">
                <a:ln>
                  <a:noFill/>
                </a:ln>
                <a:solidFill>
                  <a:srgbClr val="FFFFFF"/>
                </a:solidFill>
                <a:effectLst/>
                <a:uLnTx/>
                <a:uFillTx/>
                <a:latin typeface="Verdana"/>
                <a:ea typeface="+mn-ea"/>
                <a:cs typeface="Verdana"/>
              </a:rPr>
              <a:t>are  </a:t>
            </a:r>
            <a:r>
              <a:rPr kumimoji="0" sz="1800" b="0" i="0" u="none" strike="noStrike" kern="1200" cap="none" spc="-65" normalizeH="0" baseline="0" noProof="0" dirty="0">
                <a:ln>
                  <a:noFill/>
                </a:ln>
                <a:solidFill>
                  <a:srgbClr val="FFFFFF"/>
                </a:solidFill>
                <a:effectLst/>
                <a:uLnTx/>
                <a:uFillTx/>
                <a:latin typeface="Verdana"/>
                <a:ea typeface="+mn-ea"/>
                <a:cs typeface="Verdana"/>
              </a:rPr>
              <a:t>organised </a:t>
            </a:r>
            <a:r>
              <a:rPr kumimoji="0" sz="1800" b="0" i="0" u="none" strike="noStrike" kern="1200" cap="none" spc="-50" normalizeH="0" baseline="0" noProof="0" dirty="0">
                <a:ln>
                  <a:noFill/>
                </a:ln>
                <a:solidFill>
                  <a:srgbClr val="FFFFFF"/>
                </a:solidFill>
                <a:effectLst/>
                <a:uLnTx/>
                <a:uFillTx/>
                <a:latin typeface="Verdana"/>
                <a:ea typeface="+mn-ea"/>
                <a:cs typeface="Verdana"/>
              </a:rPr>
              <a:t>along </a:t>
            </a:r>
            <a:r>
              <a:rPr kumimoji="0" sz="1800" b="0" i="0" u="none" strike="noStrike" kern="1200" cap="none" spc="-80" normalizeH="0" baseline="0" noProof="0" dirty="0">
                <a:ln>
                  <a:noFill/>
                </a:ln>
                <a:solidFill>
                  <a:srgbClr val="FFFFFF"/>
                </a:solidFill>
                <a:effectLst/>
                <a:uLnTx/>
                <a:uFillTx/>
                <a:latin typeface="Verdana"/>
                <a:ea typeface="+mn-ea"/>
                <a:cs typeface="Verdana"/>
              </a:rPr>
              <a:t>four  </a:t>
            </a:r>
            <a:r>
              <a:rPr kumimoji="0" sz="1800" b="0" i="0" u="none" strike="noStrike" kern="1200" cap="none" spc="-95" normalizeH="0" baseline="0" noProof="0" dirty="0">
                <a:ln>
                  <a:noFill/>
                </a:ln>
                <a:solidFill>
                  <a:srgbClr val="FFFFFF"/>
                </a:solidFill>
                <a:effectLst/>
                <a:uLnTx/>
                <a:uFillTx/>
                <a:latin typeface="Verdana"/>
                <a:ea typeface="+mn-ea"/>
                <a:cs typeface="Verdana"/>
              </a:rPr>
              <a:t>strategic </a:t>
            </a:r>
            <a:r>
              <a:rPr kumimoji="0" sz="1800" b="0" i="0" u="none" strike="noStrike" kern="1200" cap="none" spc="-90" normalizeH="0" baseline="0" noProof="0" dirty="0">
                <a:ln>
                  <a:noFill/>
                </a:ln>
                <a:solidFill>
                  <a:srgbClr val="FFFFFF"/>
                </a:solidFill>
                <a:effectLst/>
                <a:uLnTx/>
                <a:uFillTx/>
                <a:latin typeface="Verdana"/>
                <a:ea typeface="+mn-ea"/>
                <a:cs typeface="Verdana"/>
              </a:rPr>
              <a:t>domains,  </a:t>
            </a:r>
            <a:r>
              <a:rPr kumimoji="0" sz="1800" b="0" i="0" u="none" strike="noStrike" kern="1200" cap="none" spc="-55" normalizeH="0" baseline="0" noProof="0" dirty="0">
                <a:ln>
                  <a:noFill/>
                </a:ln>
                <a:solidFill>
                  <a:srgbClr val="FFFFFF"/>
                </a:solidFill>
                <a:effectLst/>
                <a:uLnTx/>
                <a:uFillTx/>
                <a:latin typeface="Verdana"/>
                <a:ea typeface="+mn-ea"/>
                <a:cs typeface="Verdana"/>
              </a:rPr>
              <a:t>supported </a:t>
            </a:r>
            <a:r>
              <a:rPr kumimoji="0" sz="1800" b="0" i="0" u="none" strike="noStrike" kern="1200" cap="none" spc="-85" normalizeH="0" baseline="0" noProof="0" dirty="0">
                <a:ln>
                  <a:noFill/>
                </a:ln>
                <a:solidFill>
                  <a:srgbClr val="FFFFFF"/>
                </a:solidFill>
                <a:effectLst/>
                <a:uLnTx/>
                <a:uFillTx/>
                <a:latin typeface="Verdana"/>
                <a:ea typeface="+mn-ea"/>
                <a:cs typeface="Verdana"/>
              </a:rPr>
              <a:t>by </a:t>
            </a:r>
            <a:r>
              <a:rPr kumimoji="0" sz="1800" b="0" i="0" u="none" strike="noStrike" kern="1200" cap="none" spc="-90" normalizeH="0" baseline="0" noProof="0" dirty="0">
                <a:ln>
                  <a:noFill/>
                </a:ln>
                <a:solidFill>
                  <a:srgbClr val="FFFFFF"/>
                </a:solidFill>
                <a:effectLst/>
                <a:uLnTx/>
                <a:uFillTx/>
                <a:latin typeface="Verdana"/>
                <a:ea typeface="+mn-ea"/>
                <a:cs typeface="Verdana"/>
              </a:rPr>
              <a:t>three  </a:t>
            </a:r>
            <a:r>
              <a:rPr kumimoji="0" sz="1800" b="0" i="0" u="none" strike="noStrike" kern="1200" cap="none" spc="-95" normalizeH="0" baseline="0" noProof="0" dirty="0">
                <a:ln>
                  <a:noFill/>
                </a:ln>
                <a:solidFill>
                  <a:srgbClr val="FFFFFF"/>
                </a:solidFill>
                <a:effectLst/>
                <a:uLnTx/>
                <a:uFillTx/>
                <a:latin typeface="Verdana"/>
                <a:ea typeface="+mn-ea"/>
                <a:cs typeface="Verdana"/>
              </a:rPr>
              <a:t>cross-cutting</a:t>
            </a:r>
            <a:r>
              <a:rPr kumimoji="0" sz="1800" b="0" i="0" u="none" strike="noStrike" kern="1200" cap="none" spc="-270" normalizeH="0" baseline="0" noProof="0" dirty="0">
                <a:ln>
                  <a:noFill/>
                </a:ln>
                <a:solidFill>
                  <a:srgbClr val="FFFFFF"/>
                </a:solidFill>
                <a:effectLst/>
                <a:uLnTx/>
                <a:uFillTx/>
                <a:latin typeface="Verdana"/>
                <a:ea typeface="+mn-ea"/>
                <a:cs typeface="Verdana"/>
              </a:rPr>
              <a:t> </a:t>
            </a:r>
            <a:r>
              <a:rPr kumimoji="0" sz="1800" b="0" i="0" u="none" strike="noStrike" kern="1200" cap="none" spc="-85" normalizeH="0" baseline="0" noProof="0" dirty="0">
                <a:ln>
                  <a:noFill/>
                </a:ln>
                <a:solidFill>
                  <a:srgbClr val="FFFFFF"/>
                </a:solidFill>
                <a:effectLst/>
                <a:uLnTx/>
                <a:uFillTx/>
                <a:latin typeface="Verdana"/>
                <a:ea typeface="+mn-ea"/>
                <a:cs typeface="Verdana"/>
              </a:rPr>
              <a:t>horizontals</a:t>
            </a:r>
            <a:endParaRPr kumimoji="0" sz="18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615187" y="6555910"/>
            <a:ext cx="1027430" cy="240665"/>
          </a:xfrm>
          <a:prstGeom prst="rect">
            <a:avLst/>
          </a:prstGeom>
        </p:spPr>
        <p:txBody>
          <a:bodyPr vert="horz" wrap="square" lIns="0" tIns="5080" rIns="0" bIns="0" rtlCol="0">
            <a:spAutoFit/>
          </a:bodyPr>
          <a:lstStyle/>
          <a:p>
            <a:pPr marL="12700" marR="0" lvl="0" indent="0" algn="l" defTabSz="914400" rtl="0" eaLnBrk="1" fontAlgn="auto" latinLnBrk="0" hangingPunct="1">
              <a:lnSpc>
                <a:spcPct val="100000"/>
              </a:lnSpc>
              <a:spcBef>
                <a:spcPts val="40"/>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a:t>
            </a:r>
            <a:r>
              <a:rPr kumimoji="0" sz="1400" b="0" i="0" u="none" strike="noStrike" kern="1200" cap="none" spc="-165" normalizeH="0" baseline="0" noProof="0" dirty="0">
                <a:ln>
                  <a:noFill/>
                </a:ln>
                <a:solidFill>
                  <a:srgbClr val="FFFFFF"/>
                </a:solidFill>
                <a:effectLst/>
                <a:uLnTx/>
                <a:uFillTx/>
                <a:latin typeface="Verdana"/>
                <a:ea typeface="+mn-ea"/>
                <a:cs typeface="Verdana"/>
              </a:rPr>
              <a:t> </a:t>
            </a:r>
            <a:r>
              <a:rPr kumimoji="0" sz="1400" b="0" i="0" u="none" strike="noStrike" kern="1200" cap="none" spc="-55" normalizeH="0" baseline="0" noProof="0" dirty="0">
                <a:ln>
                  <a:noFill/>
                </a:ln>
                <a:solidFill>
                  <a:srgbClr val="FFFFFF"/>
                </a:solidFill>
                <a:effectLst/>
                <a:uLnTx/>
                <a:uFillTx/>
                <a:latin typeface="Verdana"/>
                <a:ea typeface="+mn-ea"/>
                <a:cs typeface="Verdana"/>
              </a:rPr>
              <a:t>NRF</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txBox="1"/>
          <p:nvPr/>
        </p:nvSpPr>
        <p:spPr>
          <a:xfrm>
            <a:off x="10733023" y="6551337"/>
            <a:ext cx="1327150" cy="210820"/>
          </a:xfrm>
          <a:prstGeom prst="rect">
            <a:avLst/>
          </a:prstGeom>
        </p:spPr>
        <p:txBody>
          <a:bodyPr vert="horz" wrap="square" lIns="0" tIns="6985" rIns="0" bIns="0" rtlCol="0">
            <a:spAutoFit/>
          </a:bodyPr>
          <a:lstStyle/>
          <a:p>
            <a:pPr marL="12700" marR="0" lvl="0" indent="0" algn="l" defTabSz="914400" rtl="0" eaLnBrk="1" fontAlgn="auto" latinLnBrk="0" hangingPunct="1">
              <a:lnSpc>
                <a:spcPct val="100000"/>
              </a:lnSpc>
              <a:spcBef>
                <a:spcPts val="55"/>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303" y="211277"/>
            <a:ext cx="11099165" cy="757555"/>
          </a:xfrm>
          <a:prstGeom prst="rect">
            <a:avLst/>
          </a:prstGeom>
        </p:spPr>
        <p:txBody>
          <a:bodyPr vert="horz" wrap="square" lIns="0" tIns="12700" rIns="0" bIns="0" rtlCol="0">
            <a:spAutoFit/>
          </a:bodyPr>
          <a:lstStyle/>
          <a:p>
            <a:pPr marL="12700">
              <a:lnSpc>
                <a:spcPct val="100000"/>
              </a:lnSpc>
              <a:spcBef>
                <a:spcPts val="100"/>
              </a:spcBef>
              <a:tabLst>
                <a:tab pos="11085195" algn="l"/>
              </a:tabLst>
            </a:pPr>
            <a:r>
              <a:rPr sz="4800" u="sng" spc="-50" dirty="0">
                <a:uFill>
                  <a:solidFill>
                    <a:srgbClr val="00B9C7"/>
                  </a:solidFill>
                </a:uFill>
              </a:rPr>
              <a:t>RIE </a:t>
            </a:r>
            <a:r>
              <a:rPr sz="4800" u="sng" spc="320" dirty="0">
                <a:uFill>
                  <a:solidFill>
                    <a:srgbClr val="00B9C7"/>
                  </a:solidFill>
                </a:uFill>
              </a:rPr>
              <a:t>2025</a:t>
            </a:r>
            <a:r>
              <a:rPr sz="4800" u="sng" spc="-75" dirty="0">
                <a:uFill>
                  <a:solidFill>
                    <a:srgbClr val="00B9C7"/>
                  </a:solidFill>
                </a:uFill>
              </a:rPr>
              <a:t> </a:t>
            </a:r>
            <a:r>
              <a:rPr sz="4800" u="sng" spc="325" dirty="0">
                <a:uFill>
                  <a:solidFill>
                    <a:srgbClr val="00B9C7"/>
                  </a:solidFill>
                </a:uFill>
              </a:rPr>
              <a:t>Budget	</a:t>
            </a:r>
            <a:endParaRPr sz="4800"/>
          </a:p>
        </p:txBody>
      </p:sp>
      <p:sp>
        <p:nvSpPr>
          <p:cNvPr id="3" name="object 3"/>
          <p:cNvSpPr/>
          <p:nvPr/>
        </p:nvSpPr>
        <p:spPr>
          <a:xfrm>
            <a:off x="4288535" y="1234438"/>
            <a:ext cx="5504688" cy="556564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880363" y="1952320"/>
            <a:ext cx="2712085" cy="3593465"/>
          </a:xfrm>
          <a:prstGeom prst="rect">
            <a:avLst/>
          </a:prstGeom>
        </p:spPr>
        <p:txBody>
          <a:bodyPr vert="horz" wrap="square" lIns="0" tIns="12700" rIns="0" bIns="0" rtlCol="0">
            <a:spAutoFit/>
          </a:bodyPr>
          <a:lstStyle/>
          <a:p>
            <a:pPr marL="12700" marR="1270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80" normalizeH="0" baseline="0" noProof="0" dirty="0">
                <a:ln>
                  <a:noFill/>
                </a:ln>
                <a:solidFill>
                  <a:srgbClr val="FFFFFF"/>
                </a:solidFill>
                <a:effectLst/>
                <a:uLnTx/>
                <a:uFillTx/>
                <a:latin typeface="Verdana"/>
                <a:ea typeface="+mn-ea"/>
                <a:cs typeface="Verdana"/>
              </a:rPr>
              <a:t>The </a:t>
            </a:r>
            <a:r>
              <a:rPr kumimoji="0" sz="1800" b="0" i="0" u="none" strike="noStrike" kern="1200" cap="none" spc="-70" normalizeH="0" baseline="0" noProof="0" dirty="0">
                <a:ln>
                  <a:noFill/>
                </a:ln>
                <a:solidFill>
                  <a:srgbClr val="FFFFFF"/>
                </a:solidFill>
                <a:effectLst/>
                <a:uLnTx/>
                <a:uFillTx/>
                <a:latin typeface="Verdana"/>
                <a:ea typeface="+mn-ea"/>
                <a:cs typeface="Verdana"/>
              </a:rPr>
              <a:t>Singapore  </a:t>
            </a:r>
            <a:r>
              <a:rPr kumimoji="0" sz="1800" b="0" i="0" u="none" strike="noStrike" kern="1200" cap="none" spc="-85" normalizeH="0" baseline="0" noProof="0" dirty="0">
                <a:ln>
                  <a:noFill/>
                </a:ln>
                <a:solidFill>
                  <a:srgbClr val="FFFFFF"/>
                </a:solidFill>
                <a:effectLst/>
                <a:uLnTx/>
                <a:uFillTx/>
                <a:latin typeface="Verdana"/>
                <a:ea typeface="+mn-ea"/>
                <a:cs typeface="Verdana"/>
              </a:rPr>
              <a:t>government </a:t>
            </a:r>
            <a:r>
              <a:rPr kumimoji="0" sz="1800" b="0" i="0" u="none" strike="noStrike" kern="1200" cap="none" spc="-114" normalizeH="0" baseline="0" noProof="0" dirty="0">
                <a:ln>
                  <a:noFill/>
                </a:ln>
                <a:solidFill>
                  <a:srgbClr val="FFFFFF"/>
                </a:solidFill>
                <a:effectLst/>
                <a:uLnTx/>
                <a:uFillTx/>
                <a:latin typeface="Verdana"/>
                <a:ea typeface="+mn-ea"/>
                <a:cs typeface="Verdana"/>
              </a:rPr>
              <a:t>sustains  </a:t>
            </a:r>
            <a:r>
              <a:rPr kumimoji="0" sz="1800" b="0" i="0" u="none" strike="noStrike" kern="1200" cap="none" spc="-110" normalizeH="0" baseline="0" noProof="0" dirty="0">
                <a:ln>
                  <a:noFill/>
                </a:ln>
                <a:solidFill>
                  <a:srgbClr val="FFFFFF"/>
                </a:solidFill>
                <a:effectLst/>
                <a:uLnTx/>
                <a:uFillTx/>
                <a:latin typeface="Verdana"/>
                <a:ea typeface="+mn-ea"/>
                <a:cs typeface="Verdana"/>
              </a:rPr>
              <a:t>investments </a:t>
            </a:r>
            <a:r>
              <a:rPr kumimoji="0" sz="1800" b="0" i="0" u="none" strike="noStrike" kern="1200" cap="none" spc="-70" normalizeH="0" baseline="0" noProof="0" dirty="0">
                <a:ln>
                  <a:noFill/>
                </a:ln>
                <a:solidFill>
                  <a:srgbClr val="FFFFFF"/>
                </a:solidFill>
                <a:effectLst/>
                <a:uLnTx/>
                <a:uFillTx/>
                <a:latin typeface="Verdana"/>
                <a:ea typeface="+mn-ea"/>
                <a:cs typeface="Verdana"/>
              </a:rPr>
              <a:t>in </a:t>
            </a:r>
            <a:r>
              <a:rPr kumimoji="0" sz="1800" b="0" i="0" u="none" strike="noStrike" kern="1200" cap="none" spc="-110" normalizeH="0" baseline="0" noProof="0" dirty="0">
                <a:ln>
                  <a:noFill/>
                </a:ln>
                <a:solidFill>
                  <a:srgbClr val="FFFFFF"/>
                </a:solidFill>
                <a:effectLst/>
                <a:uLnTx/>
                <a:uFillTx/>
                <a:latin typeface="Verdana"/>
                <a:ea typeface="+mn-ea"/>
                <a:cs typeface="Verdana"/>
              </a:rPr>
              <a:t>research,  </a:t>
            </a:r>
            <a:r>
              <a:rPr kumimoji="0" sz="1800" b="0" i="0" u="none" strike="noStrike" kern="1200" cap="none" spc="-85" normalizeH="0" baseline="0" noProof="0" dirty="0">
                <a:ln>
                  <a:noFill/>
                </a:ln>
                <a:solidFill>
                  <a:srgbClr val="FFFFFF"/>
                </a:solidFill>
                <a:effectLst/>
                <a:uLnTx/>
                <a:uFillTx/>
                <a:latin typeface="Verdana"/>
                <a:ea typeface="+mn-ea"/>
                <a:cs typeface="Verdana"/>
              </a:rPr>
              <a:t>innovation </a:t>
            </a:r>
            <a:r>
              <a:rPr kumimoji="0" sz="1800" b="0" i="0" u="none" strike="noStrike" kern="1200" cap="none" spc="-65" normalizeH="0" baseline="0" noProof="0" dirty="0">
                <a:ln>
                  <a:noFill/>
                </a:ln>
                <a:solidFill>
                  <a:srgbClr val="FFFFFF"/>
                </a:solidFill>
                <a:effectLst/>
                <a:uLnTx/>
                <a:uFillTx/>
                <a:latin typeface="Verdana"/>
                <a:ea typeface="+mn-ea"/>
                <a:cs typeface="Verdana"/>
              </a:rPr>
              <a:t>and</a:t>
            </a:r>
            <a:r>
              <a:rPr kumimoji="0" sz="1800" b="0" i="0" u="none" strike="noStrike" kern="1200" cap="none" spc="-330" normalizeH="0" baseline="0" noProof="0" dirty="0">
                <a:ln>
                  <a:noFill/>
                </a:ln>
                <a:solidFill>
                  <a:srgbClr val="FFFFFF"/>
                </a:solidFill>
                <a:effectLst/>
                <a:uLnTx/>
                <a:uFillTx/>
                <a:latin typeface="Verdana"/>
                <a:ea typeface="+mn-ea"/>
                <a:cs typeface="Verdana"/>
              </a:rPr>
              <a:t> </a:t>
            </a:r>
            <a:r>
              <a:rPr kumimoji="0" sz="1800" b="0" i="0" u="none" strike="noStrike" kern="1200" cap="none" spc="-80" normalizeH="0" baseline="0" noProof="0" dirty="0">
                <a:ln>
                  <a:noFill/>
                </a:ln>
                <a:solidFill>
                  <a:srgbClr val="FFFFFF"/>
                </a:solidFill>
                <a:effectLst/>
                <a:uLnTx/>
                <a:uFillTx/>
                <a:latin typeface="Verdana"/>
                <a:ea typeface="+mn-ea"/>
                <a:cs typeface="Verdana"/>
              </a:rPr>
              <a:t>enterprise  </a:t>
            </a:r>
            <a:r>
              <a:rPr kumimoji="0" sz="1800" b="0" i="0" u="none" strike="noStrike" kern="1200" cap="none" spc="-145" normalizeH="0" baseline="0" noProof="0" dirty="0">
                <a:ln>
                  <a:noFill/>
                </a:ln>
                <a:solidFill>
                  <a:srgbClr val="FFFFFF"/>
                </a:solidFill>
                <a:effectLst/>
                <a:uLnTx/>
                <a:uFillTx/>
                <a:latin typeface="Verdana"/>
                <a:ea typeface="+mn-ea"/>
                <a:cs typeface="Verdana"/>
              </a:rPr>
              <a:t>at </a:t>
            </a:r>
            <a:r>
              <a:rPr kumimoji="0" sz="1800" b="0" i="0" u="none" strike="noStrike" kern="1200" cap="none" spc="-65" normalizeH="0" baseline="0" noProof="0" dirty="0">
                <a:ln>
                  <a:noFill/>
                </a:ln>
                <a:solidFill>
                  <a:srgbClr val="FFFFFF"/>
                </a:solidFill>
                <a:effectLst/>
                <a:uLnTx/>
                <a:uFillTx/>
                <a:latin typeface="Verdana"/>
                <a:ea typeface="+mn-ea"/>
                <a:cs typeface="Verdana"/>
              </a:rPr>
              <a:t>about </a:t>
            </a:r>
            <a:r>
              <a:rPr kumimoji="0" sz="1800" b="1" i="0" u="none" strike="noStrike" kern="1200" cap="none" spc="95" normalizeH="0" baseline="0" noProof="0" dirty="0">
                <a:ln>
                  <a:noFill/>
                </a:ln>
                <a:solidFill>
                  <a:srgbClr val="FFFFFF"/>
                </a:solidFill>
                <a:effectLst/>
                <a:uLnTx/>
                <a:uFillTx/>
                <a:latin typeface="Arial"/>
                <a:ea typeface="+mn-ea"/>
                <a:cs typeface="Arial"/>
              </a:rPr>
              <a:t>1% </a:t>
            </a:r>
            <a:r>
              <a:rPr kumimoji="0" sz="1800" b="1" i="0" u="none" strike="noStrike" kern="1200" cap="none" spc="40" normalizeH="0" baseline="0" noProof="0" dirty="0">
                <a:ln>
                  <a:noFill/>
                </a:ln>
                <a:solidFill>
                  <a:srgbClr val="FFFFFF"/>
                </a:solidFill>
                <a:effectLst/>
                <a:uLnTx/>
                <a:uFillTx/>
                <a:latin typeface="Arial"/>
                <a:ea typeface="+mn-ea"/>
                <a:cs typeface="Arial"/>
              </a:rPr>
              <a:t>of  </a:t>
            </a:r>
            <a:r>
              <a:rPr kumimoji="0" sz="1800" b="1" i="0" u="none" strike="noStrike" kern="1200" cap="none" spc="5" normalizeH="0" baseline="0" noProof="0" dirty="0">
                <a:ln>
                  <a:noFill/>
                </a:ln>
                <a:solidFill>
                  <a:srgbClr val="FFFFFF"/>
                </a:solidFill>
                <a:effectLst/>
                <a:uLnTx/>
                <a:uFillTx/>
                <a:latin typeface="Arial"/>
                <a:ea typeface="+mn-ea"/>
                <a:cs typeface="Arial"/>
              </a:rPr>
              <a:t>Singapore's </a:t>
            </a:r>
            <a:r>
              <a:rPr kumimoji="0" sz="1800" b="1" i="0" u="none" strike="noStrike" kern="1200" cap="none" spc="10" normalizeH="0" baseline="0" noProof="0" dirty="0">
                <a:ln>
                  <a:noFill/>
                </a:ln>
                <a:solidFill>
                  <a:srgbClr val="FFFFFF"/>
                </a:solidFill>
                <a:effectLst/>
                <a:uLnTx/>
                <a:uFillTx/>
                <a:latin typeface="Arial"/>
                <a:ea typeface="+mn-ea"/>
                <a:cs typeface="Arial"/>
              </a:rPr>
              <a:t>GDP </a:t>
            </a:r>
            <a:r>
              <a:rPr kumimoji="0" sz="1800" b="0" i="0" u="none" strike="noStrike" kern="1200" cap="none" spc="-85" normalizeH="0" baseline="0" noProof="0" dirty="0">
                <a:ln>
                  <a:noFill/>
                </a:ln>
                <a:solidFill>
                  <a:srgbClr val="FFFFFF"/>
                </a:solidFill>
                <a:effectLst/>
                <a:uLnTx/>
                <a:uFillTx/>
                <a:latin typeface="Verdana"/>
                <a:ea typeface="+mn-ea"/>
                <a:cs typeface="Verdana"/>
              </a:rPr>
              <a:t>over  </a:t>
            </a:r>
            <a:r>
              <a:rPr kumimoji="0" sz="1800" b="0" i="0" u="none" strike="noStrike" kern="1200" cap="none" spc="-110" normalizeH="0" baseline="0" noProof="0" dirty="0">
                <a:ln>
                  <a:noFill/>
                </a:ln>
                <a:solidFill>
                  <a:srgbClr val="FFFFFF"/>
                </a:solidFill>
                <a:effectLst/>
                <a:uLnTx/>
                <a:uFillTx/>
                <a:latin typeface="Verdana"/>
                <a:ea typeface="+mn-ea"/>
                <a:cs typeface="Verdana"/>
              </a:rPr>
              <a:t>2021-2025 </a:t>
            </a:r>
            <a:r>
              <a:rPr kumimoji="0" sz="1800" b="0" i="0" u="none" strike="noStrike" kern="1200" cap="none" spc="-75" normalizeH="0" baseline="0" noProof="0" dirty="0">
                <a:ln>
                  <a:noFill/>
                </a:ln>
                <a:solidFill>
                  <a:srgbClr val="FFFFFF"/>
                </a:solidFill>
                <a:effectLst/>
                <a:uLnTx/>
                <a:uFillTx/>
                <a:latin typeface="Verdana"/>
                <a:ea typeface="+mn-ea"/>
                <a:cs typeface="Verdana"/>
              </a:rPr>
              <a:t>for</a:t>
            </a:r>
            <a:r>
              <a:rPr kumimoji="0" sz="1800" b="0" i="0" u="none" strike="noStrike" kern="1200" cap="none" spc="-330" normalizeH="0" baseline="0" noProof="0" dirty="0">
                <a:ln>
                  <a:noFill/>
                </a:ln>
                <a:solidFill>
                  <a:srgbClr val="FFFFFF"/>
                </a:solidFill>
                <a:effectLst/>
                <a:uLnTx/>
                <a:uFillTx/>
                <a:latin typeface="Verdana"/>
                <a:ea typeface="+mn-ea"/>
                <a:cs typeface="Verdana"/>
              </a:rPr>
              <a:t> </a:t>
            </a:r>
            <a:r>
              <a:rPr kumimoji="0" sz="1800" b="0" i="0" u="none" strike="noStrike" kern="1200" cap="none" spc="-140" normalizeH="0" baseline="0" noProof="0" dirty="0">
                <a:ln>
                  <a:noFill/>
                </a:ln>
                <a:solidFill>
                  <a:srgbClr val="FFFFFF"/>
                </a:solidFill>
                <a:effectLst/>
                <a:uLnTx/>
                <a:uFillTx/>
                <a:latin typeface="Verdana"/>
                <a:ea typeface="+mn-ea"/>
                <a:cs typeface="Verdana"/>
              </a:rPr>
              <a:t>RIE2025.</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12700" marR="5080" lvl="0" indent="0" algn="l" defTabSz="914400" rtl="0" eaLnBrk="1" fontAlgn="auto" latinLnBrk="0" hangingPunct="1">
              <a:lnSpc>
                <a:spcPct val="100000"/>
              </a:lnSpc>
              <a:spcBef>
                <a:spcPts val="10"/>
              </a:spcBef>
              <a:spcAft>
                <a:spcPts val="0"/>
              </a:spcAft>
              <a:buClrTx/>
              <a:buSzTx/>
              <a:buFontTx/>
              <a:buNone/>
              <a:tabLst/>
              <a:defRPr/>
            </a:pPr>
            <a:r>
              <a:rPr kumimoji="0" sz="1800" b="0" i="0" u="none" strike="noStrike" kern="1200" cap="none" spc="-95" normalizeH="0" baseline="0" noProof="0" dirty="0">
                <a:ln>
                  <a:noFill/>
                </a:ln>
                <a:solidFill>
                  <a:srgbClr val="FFFFFF"/>
                </a:solidFill>
                <a:effectLst/>
                <a:uLnTx/>
                <a:uFillTx/>
                <a:latin typeface="Verdana"/>
                <a:ea typeface="+mn-ea"/>
                <a:cs typeface="Verdana"/>
              </a:rPr>
              <a:t>This is </a:t>
            </a:r>
            <a:r>
              <a:rPr kumimoji="0" sz="1800" b="0" i="0" u="none" strike="noStrike" kern="1200" cap="none" spc="-65" normalizeH="0" baseline="0" noProof="0" dirty="0">
                <a:ln>
                  <a:noFill/>
                </a:ln>
                <a:solidFill>
                  <a:srgbClr val="FFFFFF"/>
                </a:solidFill>
                <a:effectLst/>
                <a:uLnTx/>
                <a:uFillTx/>
                <a:latin typeface="Verdana"/>
                <a:ea typeface="+mn-ea"/>
                <a:cs typeface="Verdana"/>
              </a:rPr>
              <a:t>about </a:t>
            </a:r>
            <a:r>
              <a:rPr kumimoji="0" sz="1800" b="0" i="0" u="none" strike="noStrike" kern="1200" cap="none" spc="-110" normalizeH="0" baseline="0" noProof="0" dirty="0">
                <a:ln>
                  <a:noFill/>
                </a:ln>
                <a:solidFill>
                  <a:srgbClr val="FFFFFF"/>
                </a:solidFill>
                <a:effectLst/>
                <a:uLnTx/>
                <a:uFillTx/>
                <a:latin typeface="Verdana"/>
                <a:ea typeface="+mn-ea"/>
                <a:cs typeface="Verdana"/>
              </a:rPr>
              <a:t>$25B, </a:t>
            </a:r>
            <a:r>
              <a:rPr kumimoji="0" sz="1800" b="0" i="0" u="none" strike="noStrike" kern="1200" cap="none" spc="-65" normalizeH="0" baseline="0" noProof="0" dirty="0">
                <a:ln>
                  <a:noFill/>
                </a:ln>
                <a:solidFill>
                  <a:srgbClr val="FFFFFF"/>
                </a:solidFill>
                <a:effectLst/>
                <a:uLnTx/>
                <a:uFillTx/>
                <a:latin typeface="Verdana"/>
                <a:ea typeface="+mn-ea"/>
                <a:cs typeface="Verdana"/>
              </a:rPr>
              <a:t>and  </a:t>
            </a:r>
            <a:r>
              <a:rPr kumimoji="0" sz="1800" b="0" i="0" u="none" strike="noStrike" kern="1200" cap="none" spc="-85" normalizeH="0" baseline="0" noProof="0" dirty="0">
                <a:ln>
                  <a:noFill/>
                </a:ln>
                <a:solidFill>
                  <a:srgbClr val="FFFFFF"/>
                </a:solidFill>
                <a:effectLst/>
                <a:uLnTx/>
                <a:uFillTx/>
                <a:latin typeface="Verdana"/>
                <a:ea typeface="+mn-ea"/>
                <a:cs typeface="Verdana"/>
              </a:rPr>
              <a:t>reflects </a:t>
            </a:r>
            <a:r>
              <a:rPr kumimoji="0" sz="1800" b="0" i="0" u="none" strike="noStrike" kern="1200" cap="none" spc="-90" normalizeH="0" baseline="0" noProof="0" dirty="0">
                <a:ln>
                  <a:noFill/>
                </a:ln>
                <a:solidFill>
                  <a:srgbClr val="FFFFFF"/>
                </a:solidFill>
                <a:effectLst/>
                <a:uLnTx/>
                <a:uFillTx/>
                <a:latin typeface="Verdana"/>
                <a:ea typeface="+mn-ea"/>
                <a:cs typeface="Verdana"/>
              </a:rPr>
              <a:t>the </a:t>
            </a:r>
            <a:r>
              <a:rPr kumimoji="0" sz="1800" b="0" i="0" u="none" strike="noStrike" kern="1200" cap="none" spc="-70" normalizeH="0" baseline="0" noProof="0" dirty="0">
                <a:ln>
                  <a:noFill/>
                </a:ln>
                <a:solidFill>
                  <a:srgbClr val="FFFFFF"/>
                </a:solidFill>
                <a:effectLst/>
                <a:uLnTx/>
                <a:uFillTx/>
                <a:latin typeface="Verdana"/>
                <a:ea typeface="+mn-ea"/>
                <a:cs typeface="Verdana"/>
              </a:rPr>
              <a:t>Singapore  </a:t>
            </a:r>
            <a:r>
              <a:rPr kumimoji="0" sz="1800" b="0" i="0" u="none" strike="noStrike" kern="1200" cap="none" spc="-95" normalizeH="0" baseline="0" noProof="0" dirty="0">
                <a:ln>
                  <a:noFill/>
                </a:ln>
                <a:solidFill>
                  <a:srgbClr val="FFFFFF"/>
                </a:solidFill>
                <a:effectLst/>
                <a:uLnTx/>
                <a:uFillTx/>
                <a:latin typeface="Verdana"/>
                <a:ea typeface="+mn-ea"/>
                <a:cs typeface="Verdana"/>
              </a:rPr>
              <a:t>government’s </a:t>
            </a:r>
            <a:r>
              <a:rPr kumimoji="0" sz="1800" b="0" i="0" u="none" strike="noStrike" kern="1200" cap="none" spc="-100" normalizeH="0" baseline="0" noProof="0" dirty="0">
                <a:ln>
                  <a:noFill/>
                </a:ln>
                <a:solidFill>
                  <a:srgbClr val="FFFFFF"/>
                </a:solidFill>
                <a:effectLst/>
                <a:uLnTx/>
                <a:uFillTx/>
                <a:latin typeface="Verdana"/>
                <a:ea typeface="+mn-ea"/>
                <a:cs typeface="Verdana"/>
              </a:rPr>
              <a:t>sustained,  </a:t>
            </a:r>
            <a:r>
              <a:rPr kumimoji="0" sz="1800" b="0" i="0" u="none" strike="noStrike" kern="1200" cap="none" spc="-95" normalizeH="0" baseline="0" noProof="0" dirty="0">
                <a:ln>
                  <a:noFill/>
                </a:ln>
                <a:solidFill>
                  <a:srgbClr val="FFFFFF"/>
                </a:solidFill>
                <a:effectLst/>
                <a:uLnTx/>
                <a:uFillTx/>
                <a:latin typeface="Verdana"/>
                <a:ea typeface="+mn-ea"/>
                <a:cs typeface="Verdana"/>
              </a:rPr>
              <a:t>long-term </a:t>
            </a:r>
            <a:r>
              <a:rPr kumimoji="0" sz="1800" b="0" i="0" u="none" strike="noStrike" kern="1200" cap="none" spc="-100" normalizeH="0" baseline="0" noProof="0" dirty="0">
                <a:ln>
                  <a:noFill/>
                </a:ln>
                <a:solidFill>
                  <a:srgbClr val="FFFFFF"/>
                </a:solidFill>
                <a:effectLst/>
                <a:uLnTx/>
                <a:uFillTx/>
                <a:latin typeface="Verdana"/>
                <a:ea typeface="+mn-ea"/>
                <a:cs typeface="Verdana"/>
              </a:rPr>
              <a:t>commitment</a:t>
            </a:r>
            <a:r>
              <a:rPr kumimoji="0" sz="1800" b="0" i="0" u="none" strike="noStrike" kern="1200" cap="none" spc="-340" normalizeH="0" baseline="0" noProof="0" dirty="0">
                <a:ln>
                  <a:noFill/>
                </a:ln>
                <a:solidFill>
                  <a:srgbClr val="FFFFFF"/>
                </a:solidFill>
                <a:effectLst/>
                <a:uLnTx/>
                <a:uFillTx/>
                <a:latin typeface="Verdana"/>
                <a:ea typeface="+mn-ea"/>
                <a:cs typeface="Verdana"/>
              </a:rPr>
              <a:t> </a:t>
            </a:r>
            <a:r>
              <a:rPr kumimoji="0" sz="1800" b="0" i="0" u="none" strike="noStrike" kern="1200" cap="none" spc="-65" normalizeH="0" baseline="0" noProof="0" dirty="0">
                <a:ln>
                  <a:noFill/>
                </a:ln>
                <a:solidFill>
                  <a:srgbClr val="FFFFFF"/>
                </a:solidFill>
                <a:effectLst/>
                <a:uLnTx/>
                <a:uFillTx/>
                <a:latin typeface="Verdana"/>
                <a:ea typeface="+mn-ea"/>
                <a:cs typeface="Verdana"/>
              </a:rPr>
              <a:t>to  </a:t>
            </a:r>
            <a:r>
              <a:rPr kumimoji="0" sz="1800" b="0" i="0" u="none" strike="noStrike" kern="1200" cap="none" spc="-80" normalizeH="0" baseline="0" noProof="0" dirty="0">
                <a:ln>
                  <a:noFill/>
                </a:ln>
                <a:solidFill>
                  <a:srgbClr val="FFFFFF"/>
                </a:solidFill>
                <a:effectLst/>
                <a:uLnTx/>
                <a:uFillTx/>
                <a:latin typeface="Verdana"/>
                <a:ea typeface="+mn-ea"/>
                <a:cs typeface="Verdana"/>
              </a:rPr>
              <a:t>R&amp;D </a:t>
            </a:r>
            <a:r>
              <a:rPr kumimoji="0" sz="1800" b="0" i="0" u="none" strike="noStrike" kern="1200" cap="none" spc="-75" normalizeH="0" baseline="0" noProof="0" dirty="0">
                <a:ln>
                  <a:noFill/>
                </a:ln>
                <a:solidFill>
                  <a:srgbClr val="FFFFFF"/>
                </a:solidFill>
                <a:effectLst/>
                <a:uLnTx/>
                <a:uFillTx/>
                <a:latin typeface="Verdana"/>
                <a:ea typeface="+mn-ea"/>
                <a:cs typeface="Verdana"/>
              </a:rPr>
              <a:t>through </a:t>
            </a:r>
            <a:r>
              <a:rPr kumimoji="0" sz="1800" b="0" i="0" u="none" strike="noStrike" kern="1200" cap="none" spc="-50" normalizeH="0" baseline="0" noProof="0" dirty="0">
                <a:ln>
                  <a:noFill/>
                </a:ln>
                <a:solidFill>
                  <a:srgbClr val="FFFFFF"/>
                </a:solidFill>
                <a:effectLst/>
                <a:uLnTx/>
                <a:uFillTx/>
                <a:latin typeface="Verdana"/>
                <a:ea typeface="+mn-ea"/>
                <a:cs typeface="Verdana"/>
              </a:rPr>
              <a:t>economic  </a:t>
            </a:r>
            <a:r>
              <a:rPr kumimoji="0" sz="1800" b="0" i="0" u="none" strike="noStrike" kern="1200" cap="none" spc="-80" normalizeH="0" baseline="0" noProof="0" dirty="0">
                <a:ln>
                  <a:noFill/>
                </a:ln>
                <a:solidFill>
                  <a:srgbClr val="FFFFFF"/>
                </a:solidFill>
                <a:effectLst/>
                <a:uLnTx/>
                <a:uFillTx/>
                <a:latin typeface="Verdana"/>
                <a:ea typeface="+mn-ea"/>
                <a:cs typeface="Verdana"/>
              </a:rPr>
              <a:t>cycles</a:t>
            </a:r>
            <a:endParaRPr kumimoji="0" sz="18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615187" y="6555910"/>
            <a:ext cx="1027430" cy="240665"/>
          </a:xfrm>
          <a:prstGeom prst="rect">
            <a:avLst/>
          </a:prstGeom>
        </p:spPr>
        <p:txBody>
          <a:bodyPr vert="horz" wrap="square" lIns="0" tIns="5080" rIns="0" bIns="0" rtlCol="0">
            <a:spAutoFit/>
          </a:bodyPr>
          <a:lstStyle/>
          <a:p>
            <a:pPr marL="12700" marR="0" lvl="0" indent="0" algn="l" defTabSz="914400" rtl="0" eaLnBrk="1" fontAlgn="auto" latinLnBrk="0" hangingPunct="1">
              <a:lnSpc>
                <a:spcPct val="100000"/>
              </a:lnSpc>
              <a:spcBef>
                <a:spcPts val="40"/>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a:t>
            </a:r>
            <a:r>
              <a:rPr kumimoji="0" sz="1400" b="0" i="0" u="none" strike="noStrike" kern="1200" cap="none" spc="-165" normalizeH="0" baseline="0" noProof="0" dirty="0">
                <a:ln>
                  <a:noFill/>
                </a:ln>
                <a:solidFill>
                  <a:srgbClr val="FFFFFF"/>
                </a:solidFill>
                <a:effectLst/>
                <a:uLnTx/>
                <a:uFillTx/>
                <a:latin typeface="Verdana"/>
                <a:ea typeface="+mn-ea"/>
                <a:cs typeface="Verdana"/>
              </a:rPr>
              <a:t> </a:t>
            </a:r>
            <a:r>
              <a:rPr kumimoji="0" sz="1400" b="0" i="0" u="none" strike="noStrike" kern="1200" cap="none" spc="-55" normalizeH="0" baseline="0" noProof="0" dirty="0">
                <a:ln>
                  <a:noFill/>
                </a:ln>
                <a:solidFill>
                  <a:srgbClr val="FFFFFF"/>
                </a:solidFill>
                <a:effectLst/>
                <a:uLnTx/>
                <a:uFillTx/>
                <a:latin typeface="Verdana"/>
                <a:ea typeface="+mn-ea"/>
                <a:cs typeface="Verdana"/>
              </a:rPr>
              <a:t>NRF</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txBox="1"/>
          <p:nvPr/>
        </p:nvSpPr>
        <p:spPr>
          <a:xfrm>
            <a:off x="10733023" y="6551337"/>
            <a:ext cx="1327150" cy="210820"/>
          </a:xfrm>
          <a:prstGeom prst="rect">
            <a:avLst/>
          </a:prstGeom>
        </p:spPr>
        <p:txBody>
          <a:bodyPr vert="horz" wrap="square" lIns="0" tIns="6985" rIns="0" bIns="0" rtlCol="0">
            <a:spAutoFit/>
          </a:bodyPr>
          <a:lstStyle/>
          <a:p>
            <a:pPr marL="12700" marR="0" lvl="0" indent="0" algn="l" defTabSz="914400" rtl="0" eaLnBrk="1" fontAlgn="auto" latinLnBrk="0" hangingPunct="1">
              <a:lnSpc>
                <a:spcPct val="100000"/>
              </a:lnSpc>
              <a:spcBef>
                <a:spcPts val="55"/>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303" y="239014"/>
            <a:ext cx="10092055" cy="1068070"/>
          </a:xfrm>
          <a:prstGeom prst="rect">
            <a:avLst/>
          </a:prstGeom>
        </p:spPr>
        <p:txBody>
          <a:bodyPr vert="horz" wrap="square" lIns="0" tIns="74295" rIns="0" bIns="0" rtlCol="0">
            <a:spAutoFit/>
          </a:bodyPr>
          <a:lstStyle/>
          <a:p>
            <a:pPr marL="12700" marR="5080">
              <a:lnSpc>
                <a:spcPts val="3890"/>
              </a:lnSpc>
              <a:spcBef>
                <a:spcPts val="585"/>
              </a:spcBef>
            </a:pPr>
            <a:r>
              <a:rPr sz="3600" spc="340" dirty="0"/>
              <a:t>How </a:t>
            </a:r>
            <a:r>
              <a:rPr sz="3600" spc="245" dirty="0"/>
              <a:t>do </a:t>
            </a:r>
            <a:r>
              <a:rPr sz="3600" spc="335" dirty="0"/>
              <a:t>countries </a:t>
            </a:r>
            <a:r>
              <a:rPr sz="3600" spc="295" dirty="0"/>
              <a:t>compare </a:t>
            </a:r>
            <a:r>
              <a:rPr sz="3600" spc="204" dirty="0"/>
              <a:t>in </a:t>
            </a:r>
            <a:r>
              <a:rPr sz="3600" spc="295" dirty="0"/>
              <a:t>terms</a:t>
            </a:r>
            <a:r>
              <a:rPr sz="3600" spc="-830" dirty="0"/>
              <a:t> </a:t>
            </a:r>
            <a:r>
              <a:rPr sz="3600" spc="380" dirty="0"/>
              <a:t>of  </a:t>
            </a:r>
            <a:r>
              <a:rPr sz="3600" spc="275" dirty="0"/>
              <a:t>Research</a:t>
            </a:r>
            <a:r>
              <a:rPr sz="3600" spc="70" dirty="0"/>
              <a:t> </a:t>
            </a:r>
            <a:r>
              <a:rPr sz="3600" spc="285" dirty="0"/>
              <a:t>Excellence?</a:t>
            </a:r>
            <a:endParaRPr sz="3600"/>
          </a:p>
        </p:txBody>
      </p:sp>
      <p:sp>
        <p:nvSpPr>
          <p:cNvPr id="3" name="object 3"/>
          <p:cNvSpPr/>
          <p:nvPr/>
        </p:nvSpPr>
        <p:spPr>
          <a:xfrm>
            <a:off x="466344" y="1444752"/>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2802382" y="6511849"/>
            <a:ext cx="1327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202184" y="6511849"/>
            <a:ext cx="2362200" cy="23812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 </a:t>
            </a:r>
            <a:r>
              <a:rPr kumimoji="0" sz="1400" b="0" i="0" u="none" strike="noStrike" kern="1200" cap="none" spc="-65" normalizeH="0" baseline="0" noProof="0" dirty="0">
                <a:ln>
                  <a:noFill/>
                </a:ln>
                <a:solidFill>
                  <a:srgbClr val="FFFFFF"/>
                </a:solidFill>
                <a:effectLst/>
                <a:uLnTx/>
                <a:uFillTx/>
                <a:latin typeface="Verdana"/>
                <a:ea typeface="+mn-ea"/>
                <a:cs typeface="Verdana"/>
              </a:rPr>
              <a:t>National </a:t>
            </a:r>
            <a:r>
              <a:rPr kumimoji="0" sz="1400" b="0" i="0" u="none" strike="noStrike" kern="1200" cap="none" spc="-70" normalizeH="0" baseline="0" noProof="0" dirty="0">
                <a:ln>
                  <a:noFill/>
                </a:ln>
                <a:solidFill>
                  <a:srgbClr val="FFFFFF"/>
                </a:solidFill>
                <a:effectLst/>
                <a:uLnTx/>
                <a:uFillTx/>
                <a:latin typeface="Verdana"/>
                <a:ea typeface="+mn-ea"/>
                <a:cs typeface="Verdana"/>
              </a:rPr>
              <a:t>R&amp;D</a:t>
            </a:r>
            <a:r>
              <a:rPr kumimoji="0" sz="1400" b="0" i="0" u="none" strike="noStrike" kern="1200" cap="none" spc="-215" normalizeH="0" baseline="0" noProof="0" dirty="0">
                <a:ln>
                  <a:noFill/>
                </a:ln>
                <a:solidFill>
                  <a:srgbClr val="FFFFFF"/>
                </a:solidFill>
                <a:effectLst/>
                <a:uLnTx/>
                <a:uFillTx/>
                <a:latin typeface="Verdana"/>
                <a:ea typeface="+mn-ea"/>
                <a:cs typeface="Verdana"/>
              </a:rPr>
              <a:t> </a:t>
            </a:r>
            <a:r>
              <a:rPr kumimoji="0" sz="1400" b="0" i="0" u="none" strike="noStrike" kern="1200" cap="none" spc="-114" normalizeH="0" baseline="0" noProof="0" dirty="0">
                <a:ln>
                  <a:noFill/>
                </a:ln>
                <a:solidFill>
                  <a:srgbClr val="FFFFFF"/>
                </a:solidFill>
                <a:effectLst/>
                <a:uLnTx/>
                <a:uFillTx/>
                <a:latin typeface="Verdana"/>
                <a:ea typeface="+mn-ea"/>
                <a:cs typeface="Verdana"/>
              </a:rPr>
              <a:t>Survey</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txBox="1"/>
          <p:nvPr/>
        </p:nvSpPr>
        <p:spPr>
          <a:xfrm>
            <a:off x="645972" y="1740865"/>
            <a:ext cx="3074035" cy="3867150"/>
          </a:xfrm>
          <a:prstGeom prst="rect">
            <a:avLst/>
          </a:prstGeom>
        </p:spPr>
        <p:txBody>
          <a:bodyPr vert="horz" wrap="square" lIns="0" tIns="12065" rIns="0" bIns="0" rtlCol="0">
            <a:spAutoFit/>
          </a:bodyPr>
          <a:lstStyle/>
          <a:p>
            <a:pPr marL="337185" marR="0" lvl="0" indent="-287020" algn="l" defTabSz="914400" rtl="0" eaLnBrk="1" fontAlgn="auto" latinLnBrk="0" hangingPunct="1">
              <a:lnSpc>
                <a:spcPct val="100000"/>
              </a:lnSpc>
              <a:spcBef>
                <a:spcPts val="95"/>
              </a:spcBef>
              <a:spcAft>
                <a:spcPts val="0"/>
              </a:spcAft>
              <a:buClrTx/>
              <a:buSzTx/>
              <a:buFont typeface="Arial"/>
              <a:buChar char="•"/>
              <a:tabLst>
                <a:tab pos="337185" algn="l"/>
                <a:tab pos="337820" algn="l"/>
              </a:tabLst>
              <a:defRPr/>
            </a:pPr>
            <a:r>
              <a:rPr kumimoji="0" sz="1400" b="0" i="0" u="none" strike="noStrike" kern="1200" cap="none" spc="-70" normalizeH="0" baseline="0" noProof="0" dirty="0">
                <a:ln>
                  <a:noFill/>
                </a:ln>
                <a:solidFill>
                  <a:srgbClr val="FFFFFF"/>
                </a:solidFill>
                <a:effectLst/>
                <a:uLnTx/>
                <a:uFillTx/>
                <a:latin typeface="Verdana"/>
                <a:ea typeface="+mn-ea"/>
                <a:cs typeface="Verdana"/>
              </a:rPr>
              <a:t>The </a:t>
            </a:r>
            <a:r>
              <a:rPr kumimoji="0" sz="1400" b="0" i="0" u="none" strike="noStrike" kern="1200" cap="none" spc="-40" normalizeH="0" baseline="0" noProof="0" dirty="0">
                <a:ln>
                  <a:noFill/>
                </a:ln>
                <a:solidFill>
                  <a:srgbClr val="FFFFFF"/>
                </a:solidFill>
                <a:effectLst/>
                <a:uLnTx/>
                <a:uFillTx/>
                <a:latin typeface="Verdana"/>
                <a:ea typeface="+mn-ea"/>
                <a:cs typeface="Verdana"/>
              </a:rPr>
              <a:t>top</a:t>
            </a:r>
            <a:r>
              <a:rPr kumimoji="0" sz="1400" b="0" i="0" u="none" strike="noStrike" kern="1200" cap="none" spc="-370" normalizeH="0" baseline="0" noProof="0" dirty="0">
                <a:ln>
                  <a:noFill/>
                </a:ln>
                <a:solidFill>
                  <a:srgbClr val="FFFFFF"/>
                </a:solidFill>
                <a:effectLst/>
                <a:uLnTx/>
                <a:uFillTx/>
                <a:latin typeface="Verdana"/>
                <a:ea typeface="+mn-ea"/>
                <a:cs typeface="Verdana"/>
              </a:rPr>
              <a:t> </a:t>
            </a:r>
            <a:r>
              <a:rPr kumimoji="0" sz="1400" b="0" i="0" u="none" strike="noStrike" kern="1200" cap="none" spc="-85" normalizeH="0" baseline="0" noProof="0" dirty="0">
                <a:ln>
                  <a:noFill/>
                </a:ln>
                <a:solidFill>
                  <a:srgbClr val="FFFFFF"/>
                </a:solidFill>
                <a:effectLst/>
                <a:uLnTx/>
                <a:uFillTx/>
                <a:latin typeface="Verdana"/>
                <a:ea typeface="+mn-ea"/>
                <a:cs typeface="Verdana"/>
              </a:rPr>
              <a:t>5 </a:t>
            </a:r>
            <a:r>
              <a:rPr kumimoji="0" sz="1400" b="0" i="0" u="none" strike="noStrike" kern="1200" cap="none" spc="-95" normalizeH="0" baseline="0" noProof="0" dirty="0">
                <a:ln>
                  <a:noFill/>
                </a:ln>
                <a:solidFill>
                  <a:srgbClr val="FFFFFF"/>
                </a:solidFill>
                <a:effectLst/>
                <a:uLnTx/>
                <a:uFillTx/>
                <a:latin typeface="Verdana"/>
                <a:ea typeface="+mn-ea"/>
                <a:cs typeface="Verdana"/>
              </a:rPr>
              <a:t>most </a:t>
            </a:r>
            <a:r>
              <a:rPr kumimoji="0" sz="1400" b="0" i="0" u="none" strike="noStrike" kern="1200" cap="none" spc="-85" normalizeH="0" baseline="0" noProof="0" dirty="0">
                <a:ln>
                  <a:noFill/>
                </a:ln>
                <a:solidFill>
                  <a:srgbClr val="FFFFFF"/>
                </a:solidFill>
                <a:effectLst/>
                <a:uLnTx/>
                <a:uFillTx/>
                <a:latin typeface="Verdana"/>
                <a:ea typeface="+mn-ea"/>
                <a:cs typeface="Verdana"/>
              </a:rPr>
              <a:t>research </a:t>
            </a:r>
            <a:r>
              <a:rPr kumimoji="0" sz="1400" b="0" i="0" u="none" strike="noStrike" kern="1200" cap="none" spc="-80" normalizeH="0" baseline="0" noProof="0" dirty="0">
                <a:ln>
                  <a:noFill/>
                </a:ln>
                <a:solidFill>
                  <a:srgbClr val="FFFFFF"/>
                </a:solidFill>
                <a:effectLst/>
                <a:uLnTx/>
                <a:uFillTx/>
                <a:latin typeface="Verdana"/>
                <a:ea typeface="+mn-ea"/>
                <a:cs typeface="Verdana"/>
              </a:rPr>
              <a:t>intensive</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337185"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70" normalizeH="0" baseline="0" noProof="0" dirty="0">
                <a:ln>
                  <a:noFill/>
                </a:ln>
                <a:solidFill>
                  <a:srgbClr val="FFFFFF"/>
                </a:solidFill>
                <a:effectLst/>
                <a:uLnTx/>
                <a:uFillTx/>
                <a:latin typeface="Verdana"/>
                <a:ea typeface="+mn-ea"/>
                <a:cs typeface="Verdana"/>
              </a:rPr>
              <a:t>countries </a:t>
            </a:r>
            <a:r>
              <a:rPr kumimoji="0" sz="1400" b="0" i="0" u="none" strike="noStrike" kern="1200" cap="none" spc="-55" normalizeH="0" baseline="0" noProof="0" dirty="0">
                <a:ln>
                  <a:noFill/>
                </a:ln>
                <a:solidFill>
                  <a:srgbClr val="FFFFFF"/>
                </a:solidFill>
                <a:effectLst/>
                <a:uLnTx/>
                <a:uFillTx/>
                <a:latin typeface="Verdana"/>
                <a:ea typeface="+mn-ea"/>
                <a:cs typeface="Verdana"/>
              </a:rPr>
              <a:t>in </a:t>
            </a:r>
            <a:r>
              <a:rPr kumimoji="0" sz="1400" b="0" i="0" u="none" strike="noStrike" kern="1200" cap="none" spc="-80" normalizeH="0" baseline="0" noProof="0" dirty="0">
                <a:ln>
                  <a:noFill/>
                </a:ln>
                <a:solidFill>
                  <a:srgbClr val="FFFFFF"/>
                </a:solidFill>
                <a:effectLst/>
                <a:uLnTx/>
                <a:uFillTx/>
                <a:latin typeface="Verdana"/>
                <a:ea typeface="+mn-ea"/>
                <a:cs typeface="Verdana"/>
              </a:rPr>
              <a:t>the</a:t>
            </a:r>
            <a:r>
              <a:rPr kumimoji="0" sz="1400" b="0" i="0" u="none" strike="noStrike" kern="1200" cap="none" spc="-305" normalizeH="0" baseline="0" noProof="0" dirty="0">
                <a:ln>
                  <a:noFill/>
                </a:ln>
                <a:solidFill>
                  <a:srgbClr val="FFFFFF"/>
                </a:solidFill>
                <a:effectLst/>
                <a:uLnTx/>
                <a:uFillTx/>
                <a:latin typeface="Verdana"/>
                <a:ea typeface="+mn-ea"/>
                <a:cs typeface="Verdana"/>
              </a:rPr>
              <a:t> </a:t>
            </a:r>
            <a:r>
              <a:rPr kumimoji="0" sz="1400" b="0" i="0" u="none" strike="noStrike" kern="1200" cap="none" spc="-80" normalizeH="0" baseline="0" noProof="0" dirty="0">
                <a:ln>
                  <a:noFill/>
                </a:ln>
                <a:solidFill>
                  <a:srgbClr val="FFFFFF"/>
                </a:solidFill>
                <a:effectLst/>
                <a:uLnTx/>
                <a:uFillTx/>
                <a:latin typeface="Verdana"/>
                <a:ea typeface="+mn-ea"/>
                <a:cs typeface="Verdana"/>
              </a:rPr>
              <a:t>world:</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337185" marR="0" lvl="0" indent="-287020" algn="l" defTabSz="914400" rtl="0" eaLnBrk="1" fontAlgn="auto" latinLnBrk="0" hangingPunct="1">
              <a:lnSpc>
                <a:spcPct val="100000"/>
              </a:lnSpc>
              <a:spcBef>
                <a:spcPts val="0"/>
              </a:spcBef>
              <a:spcAft>
                <a:spcPts val="0"/>
              </a:spcAft>
              <a:buClrTx/>
              <a:buSzTx/>
              <a:buFontTx/>
              <a:buChar char="-"/>
              <a:tabLst>
                <a:tab pos="337185" algn="l"/>
                <a:tab pos="337820" algn="l"/>
              </a:tabLst>
              <a:defRPr/>
            </a:pPr>
            <a:r>
              <a:rPr kumimoji="0" sz="1400" b="0" i="0" u="none" strike="noStrike" kern="1200" cap="none" spc="-110" normalizeH="0" baseline="0" noProof="0" dirty="0">
                <a:ln>
                  <a:noFill/>
                </a:ln>
                <a:solidFill>
                  <a:srgbClr val="FFFFFF"/>
                </a:solidFill>
                <a:effectLst/>
                <a:uLnTx/>
                <a:uFillTx/>
                <a:latin typeface="Verdana"/>
                <a:ea typeface="+mn-ea"/>
                <a:cs typeface="Verdana"/>
              </a:rPr>
              <a:t>Israel</a:t>
            </a:r>
            <a:r>
              <a:rPr kumimoji="0" sz="1400" b="0" i="0" u="none" strike="noStrike" kern="1200" cap="none" spc="-204" normalizeH="0" baseline="0" noProof="0" dirty="0">
                <a:ln>
                  <a:noFill/>
                </a:ln>
                <a:solidFill>
                  <a:srgbClr val="FFFFFF"/>
                </a:solidFill>
                <a:effectLst/>
                <a:uLnTx/>
                <a:uFillTx/>
                <a:latin typeface="Verdana"/>
                <a:ea typeface="+mn-ea"/>
                <a:cs typeface="Verdana"/>
              </a:rPr>
              <a:t> </a:t>
            </a:r>
            <a:r>
              <a:rPr kumimoji="0" sz="1400" b="0" i="0" u="none" strike="noStrike" kern="1200" cap="none" spc="-185" normalizeH="0" baseline="0" noProof="0" dirty="0">
                <a:ln>
                  <a:noFill/>
                </a:ln>
                <a:solidFill>
                  <a:srgbClr val="FFFFFF"/>
                </a:solidFill>
                <a:effectLst/>
                <a:uLnTx/>
                <a:uFillTx/>
                <a:latin typeface="Verdana"/>
                <a:ea typeface="+mn-ea"/>
                <a:cs typeface="Verdana"/>
              </a:rPr>
              <a:t>(4.9%)</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50800" marR="0" lvl="0" indent="0" algn="l" defTabSz="914400" rtl="0" eaLnBrk="1" fontAlgn="auto" latinLnBrk="0" hangingPunct="1">
              <a:lnSpc>
                <a:spcPct val="100000"/>
              </a:lnSpc>
              <a:spcBef>
                <a:spcPts val="0"/>
              </a:spcBef>
              <a:spcAft>
                <a:spcPts val="0"/>
              </a:spcAft>
              <a:buClrTx/>
              <a:buSzTx/>
              <a:buFontTx/>
              <a:buNone/>
              <a:tabLst>
                <a:tab pos="337185" algn="l"/>
              </a:tabLst>
              <a:defRPr/>
            </a:pPr>
            <a:r>
              <a:rPr kumimoji="0" sz="1400" b="0" i="0" u="none" strike="noStrike" kern="1200" cap="none" spc="-190" normalizeH="0" baseline="0" noProof="0" dirty="0">
                <a:ln>
                  <a:noFill/>
                </a:ln>
                <a:solidFill>
                  <a:srgbClr val="FFFFFF"/>
                </a:solidFill>
                <a:effectLst/>
                <a:uLnTx/>
                <a:uFillTx/>
                <a:latin typeface="Verdana"/>
                <a:ea typeface="+mn-ea"/>
                <a:cs typeface="Verdana"/>
              </a:rPr>
              <a:t>-	</a:t>
            </a:r>
            <a:r>
              <a:rPr kumimoji="0" sz="1400" b="0" i="0" u="none" strike="noStrike" kern="1200" cap="none" spc="-90" normalizeH="0" baseline="0" noProof="0" dirty="0">
                <a:ln>
                  <a:noFill/>
                </a:ln>
                <a:solidFill>
                  <a:srgbClr val="FFFFFF"/>
                </a:solidFill>
                <a:effectLst/>
                <a:uLnTx/>
                <a:uFillTx/>
                <a:latin typeface="Verdana"/>
                <a:ea typeface="+mn-ea"/>
                <a:cs typeface="Verdana"/>
              </a:rPr>
              <a:t>Korea</a:t>
            </a:r>
            <a:r>
              <a:rPr kumimoji="0" sz="1400" b="0" i="0" u="none" strike="noStrike" kern="1200" cap="none" spc="-195" normalizeH="0" baseline="0" noProof="0" dirty="0">
                <a:ln>
                  <a:noFill/>
                </a:ln>
                <a:solidFill>
                  <a:srgbClr val="FFFFFF"/>
                </a:solidFill>
                <a:effectLst/>
                <a:uLnTx/>
                <a:uFillTx/>
                <a:latin typeface="Verdana"/>
                <a:ea typeface="+mn-ea"/>
                <a:cs typeface="Verdana"/>
              </a:rPr>
              <a:t> </a:t>
            </a:r>
            <a:r>
              <a:rPr kumimoji="0" sz="1400" b="0" i="0" u="none" strike="noStrike" kern="1200" cap="none" spc="-185" normalizeH="0" baseline="0" noProof="0" dirty="0">
                <a:ln>
                  <a:noFill/>
                </a:ln>
                <a:solidFill>
                  <a:srgbClr val="FFFFFF"/>
                </a:solidFill>
                <a:effectLst/>
                <a:uLnTx/>
                <a:uFillTx/>
                <a:latin typeface="Verdana"/>
                <a:ea typeface="+mn-ea"/>
                <a:cs typeface="Verdana"/>
              </a:rPr>
              <a:t>(4.5%)</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337185" marR="0" lvl="0" indent="-287020" algn="l" defTabSz="914400" rtl="0" eaLnBrk="1" fontAlgn="auto" latinLnBrk="0" hangingPunct="1">
              <a:lnSpc>
                <a:spcPct val="100000"/>
              </a:lnSpc>
              <a:spcBef>
                <a:spcPts val="0"/>
              </a:spcBef>
              <a:spcAft>
                <a:spcPts val="0"/>
              </a:spcAft>
              <a:buClrTx/>
              <a:buSzTx/>
              <a:buFontTx/>
              <a:buChar char="-"/>
              <a:tabLst>
                <a:tab pos="337185" algn="l"/>
                <a:tab pos="337820" algn="l"/>
              </a:tabLst>
              <a:defRPr/>
            </a:pPr>
            <a:r>
              <a:rPr kumimoji="0" sz="1400" b="0" i="0" u="none" strike="noStrike" kern="1200" cap="none" spc="-110" normalizeH="0" baseline="0" noProof="0" dirty="0">
                <a:ln>
                  <a:noFill/>
                </a:ln>
                <a:solidFill>
                  <a:srgbClr val="FFFFFF"/>
                </a:solidFill>
                <a:effectLst/>
                <a:uLnTx/>
                <a:uFillTx/>
                <a:latin typeface="Verdana"/>
                <a:ea typeface="+mn-ea"/>
                <a:cs typeface="Verdana"/>
              </a:rPr>
              <a:t>Taiwan </a:t>
            </a:r>
            <a:r>
              <a:rPr kumimoji="0" sz="1400" b="0" i="0" u="none" strike="noStrike" kern="1200" cap="none" spc="-185" normalizeH="0" baseline="0" noProof="0" dirty="0">
                <a:ln>
                  <a:noFill/>
                </a:ln>
                <a:solidFill>
                  <a:srgbClr val="FFFFFF"/>
                </a:solidFill>
                <a:effectLst/>
                <a:uLnTx/>
                <a:uFillTx/>
                <a:latin typeface="Verdana"/>
                <a:ea typeface="+mn-ea"/>
                <a:cs typeface="Verdana"/>
              </a:rPr>
              <a:t>(3.5%)</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337185" marR="0" lvl="0" indent="-287020" algn="l" defTabSz="914400" rtl="0" eaLnBrk="1" fontAlgn="auto" latinLnBrk="0" hangingPunct="1">
              <a:lnSpc>
                <a:spcPct val="100000"/>
              </a:lnSpc>
              <a:spcBef>
                <a:spcPts val="0"/>
              </a:spcBef>
              <a:spcAft>
                <a:spcPts val="0"/>
              </a:spcAft>
              <a:buClrTx/>
              <a:buSzTx/>
              <a:buFontTx/>
              <a:buChar char="-"/>
              <a:tabLst>
                <a:tab pos="337185" algn="l"/>
                <a:tab pos="337820" algn="l"/>
              </a:tabLst>
              <a:defRPr/>
            </a:pPr>
            <a:r>
              <a:rPr kumimoji="0" sz="1400" b="0" i="0" u="none" strike="noStrike" kern="1200" cap="none" spc="-80" normalizeH="0" baseline="0" noProof="0" dirty="0">
                <a:ln>
                  <a:noFill/>
                </a:ln>
                <a:solidFill>
                  <a:srgbClr val="FFFFFF"/>
                </a:solidFill>
                <a:effectLst/>
                <a:uLnTx/>
                <a:uFillTx/>
                <a:latin typeface="Verdana"/>
                <a:ea typeface="+mn-ea"/>
                <a:cs typeface="Verdana"/>
              </a:rPr>
              <a:t>Switzerland</a:t>
            </a:r>
            <a:r>
              <a:rPr kumimoji="0" sz="1400" b="0" i="0" u="none" strike="noStrike" kern="1200" cap="none" spc="-165" normalizeH="0" baseline="0" noProof="0" dirty="0">
                <a:ln>
                  <a:noFill/>
                </a:ln>
                <a:solidFill>
                  <a:srgbClr val="FFFFFF"/>
                </a:solidFill>
                <a:effectLst/>
                <a:uLnTx/>
                <a:uFillTx/>
                <a:latin typeface="Verdana"/>
                <a:ea typeface="+mn-ea"/>
                <a:cs typeface="Verdana"/>
              </a:rPr>
              <a:t> </a:t>
            </a:r>
            <a:r>
              <a:rPr kumimoji="0" sz="1400" b="0" i="0" u="none" strike="noStrike" kern="1200" cap="none" spc="-185" normalizeH="0" baseline="0" noProof="0" dirty="0">
                <a:ln>
                  <a:noFill/>
                </a:ln>
                <a:solidFill>
                  <a:srgbClr val="FFFFFF"/>
                </a:solidFill>
                <a:effectLst/>
                <a:uLnTx/>
                <a:uFillTx/>
                <a:latin typeface="Verdana"/>
                <a:ea typeface="+mn-ea"/>
                <a:cs typeface="Verdana"/>
              </a:rPr>
              <a:t>(3.4%)</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337185" marR="0" lvl="0" indent="-287020" algn="l" defTabSz="914400" rtl="0" eaLnBrk="1" fontAlgn="auto" latinLnBrk="0" hangingPunct="1">
              <a:lnSpc>
                <a:spcPct val="100000"/>
              </a:lnSpc>
              <a:spcBef>
                <a:spcPts val="0"/>
              </a:spcBef>
              <a:spcAft>
                <a:spcPts val="0"/>
              </a:spcAft>
              <a:buClrTx/>
              <a:buSzTx/>
              <a:buFontTx/>
              <a:buChar char="-"/>
              <a:tabLst>
                <a:tab pos="337185" algn="l"/>
                <a:tab pos="337820" algn="l"/>
              </a:tabLst>
              <a:defRPr/>
            </a:pPr>
            <a:r>
              <a:rPr kumimoji="0" sz="1400" b="0" i="0" u="none" strike="noStrike" kern="1200" cap="none" spc="-75" normalizeH="0" baseline="0" noProof="0" dirty="0">
                <a:ln>
                  <a:noFill/>
                </a:ln>
                <a:solidFill>
                  <a:srgbClr val="FFFFFF"/>
                </a:solidFill>
                <a:effectLst/>
                <a:uLnTx/>
                <a:uFillTx/>
                <a:latin typeface="Verdana"/>
                <a:ea typeface="+mn-ea"/>
                <a:cs typeface="Verdana"/>
              </a:rPr>
              <a:t>Sweden</a:t>
            </a:r>
            <a:r>
              <a:rPr kumimoji="0" sz="1400" b="0" i="0" u="none" strike="noStrike" kern="1200" cap="none" spc="-114" normalizeH="0" baseline="0" noProof="0" dirty="0">
                <a:ln>
                  <a:noFill/>
                </a:ln>
                <a:solidFill>
                  <a:srgbClr val="FFFFFF"/>
                </a:solidFill>
                <a:effectLst/>
                <a:uLnTx/>
                <a:uFillTx/>
                <a:latin typeface="Verdana"/>
                <a:ea typeface="+mn-ea"/>
                <a:cs typeface="Verdana"/>
              </a:rPr>
              <a:t> </a:t>
            </a:r>
            <a:r>
              <a:rPr kumimoji="0" sz="1400" b="0" i="0" u="none" strike="noStrike" kern="1200" cap="none" spc="-185" normalizeH="0" baseline="0" noProof="0" dirty="0">
                <a:ln>
                  <a:noFill/>
                </a:ln>
                <a:solidFill>
                  <a:srgbClr val="FFFFFF"/>
                </a:solidFill>
                <a:effectLst/>
                <a:uLnTx/>
                <a:uFillTx/>
                <a:latin typeface="Verdana"/>
                <a:ea typeface="+mn-ea"/>
                <a:cs typeface="Verdana"/>
              </a:rPr>
              <a:t>(3.3%)</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0" marR="0" lvl="0" indent="0" algn="l" defTabSz="914400" rtl="0" eaLnBrk="1" fontAlgn="auto" latinLnBrk="0" hangingPunct="1">
              <a:lnSpc>
                <a:spcPct val="100000"/>
              </a:lnSpc>
              <a:spcBef>
                <a:spcPts val="45"/>
              </a:spcBef>
              <a:spcAft>
                <a:spcPts val="0"/>
              </a:spcAft>
              <a:buClr>
                <a:srgbClr val="FFFFFF"/>
              </a:buClr>
              <a:buSzTx/>
              <a:buFont typeface="Verdana"/>
              <a:buChar char="-"/>
              <a:tabLst/>
              <a:defRPr/>
            </a:pPr>
            <a:endParaRPr kumimoji="0" sz="1350" b="0" i="0" u="none" strike="noStrike" kern="1200" cap="none" spc="0" normalizeH="0" baseline="0" noProof="0">
              <a:ln>
                <a:noFill/>
              </a:ln>
              <a:solidFill>
                <a:prstClr val="black"/>
              </a:solidFill>
              <a:effectLst/>
              <a:uLnTx/>
              <a:uFillTx/>
              <a:latin typeface="Verdana"/>
              <a:ea typeface="+mn-ea"/>
              <a:cs typeface="Verdana"/>
            </a:endParaRPr>
          </a:p>
          <a:p>
            <a:pPr marL="50800" marR="0" lvl="0" indent="0" algn="just"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30" normalizeH="0" baseline="0" noProof="0" dirty="0">
                <a:ln>
                  <a:noFill/>
                </a:ln>
                <a:solidFill>
                  <a:srgbClr val="FFFFFF"/>
                </a:solidFill>
                <a:effectLst/>
                <a:uLnTx/>
                <a:uFillTx/>
                <a:latin typeface="Verdana"/>
                <a:ea typeface="+mn-ea"/>
                <a:cs typeface="Verdana"/>
              </a:rPr>
              <a:t>According </a:t>
            </a:r>
            <a:r>
              <a:rPr kumimoji="0" sz="1400" b="0" i="0" u="none" strike="noStrike" kern="1200" cap="none" spc="-60" normalizeH="0" baseline="0" noProof="0" dirty="0">
                <a:ln>
                  <a:noFill/>
                </a:ln>
                <a:solidFill>
                  <a:srgbClr val="FFFFFF"/>
                </a:solidFill>
                <a:effectLst/>
                <a:uLnTx/>
                <a:uFillTx/>
                <a:latin typeface="Verdana"/>
                <a:ea typeface="+mn-ea"/>
                <a:cs typeface="Verdana"/>
              </a:rPr>
              <a:t>to </a:t>
            </a:r>
            <a:r>
              <a:rPr kumimoji="0" sz="1400" b="0" i="0" u="none" strike="noStrike" kern="1200" cap="none" spc="-45" normalizeH="0" baseline="0" noProof="0" dirty="0">
                <a:ln>
                  <a:noFill/>
                </a:ln>
                <a:solidFill>
                  <a:srgbClr val="FFFFFF"/>
                </a:solidFill>
                <a:effectLst/>
                <a:uLnTx/>
                <a:uFillTx/>
                <a:latin typeface="Verdana"/>
                <a:ea typeface="+mn-ea"/>
                <a:cs typeface="Verdana"/>
              </a:rPr>
              <a:t>OECD’s</a:t>
            </a:r>
            <a:r>
              <a:rPr kumimoji="0" sz="1400" b="0" i="0" u="none" strike="noStrike" kern="1200" cap="none" spc="-305" normalizeH="0" baseline="0" noProof="0" dirty="0">
                <a:ln>
                  <a:noFill/>
                </a:ln>
                <a:solidFill>
                  <a:srgbClr val="FFFFFF"/>
                </a:solidFill>
                <a:effectLst/>
                <a:uLnTx/>
                <a:uFillTx/>
                <a:latin typeface="Verdana"/>
                <a:ea typeface="+mn-ea"/>
                <a:cs typeface="Verdana"/>
              </a:rPr>
              <a:t> </a:t>
            </a:r>
            <a:r>
              <a:rPr kumimoji="0" sz="1400" b="0" i="0" u="none" strike="noStrike" kern="1200" cap="none" spc="-70" normalizeH="0" baseline="0" noProof="0" dirty="0">
                <a:ln>
                  <a:noFill/>
                </a:ln>
                <a:solidFill>
                  <a:srgbClr val="FFFFFF"/>
                </a:solidFill>
                <a:effectLst/>
                <a:uLnTx/>
                <a:uFillTx/>
                <a:latin typeface="Verdana"/>
                <a:ea typeface="+mn-ea"/>
                <a:cs typeface="Verdana"/>
              </a:rPr>
              <a:t>indicators,</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50800" marR="372745" lvl="0" indent="0" algn="just" defTabSz="914400" rtl="0" eaLnBrk="1" fontAlgn="auto" latinLnBrk="0" hangingPunct="1">
              <a:lnSpc>
                <a:spcPct val="100000"/>
              </a:lnSpc>
              <a:spcBef>
                <a:spcPts val="0"/>
              </a:spcBef>
              <a:spcAft>
                <a:spcPts val="0"/>
              </a:spcAft>
              <a:buClrTx/>
              <a:buSzTx/>
              <a:buFontTx/>
              <a:buChar char="-"/>
              <a:tabLst>
                <a:tab pos="151765" algn="l"/>
              </a:tabLst>
              <a:defRPr/>
            </a:pPr>
            <a:r>
              <a:rPr kumimoji="0" sz="1400" b="0" i="0" u="none" strike="noStrike" kern="1200" cap="none" spc="-110" normalizeH="0" baseline="0" noProof="0" dirty="0">
                <a:ln>
                  <a:noFill/>
                </a:ln>
                <a:solidFill>
                  <a:srgbClr val="FFFFFF"/>
                </a:solidFill>
                <a:effectLst/>
                <a:uLnTx/>
                <a:uFillTx/>
                <a:latin typeface="Verdana"/>
                <a:ea typeface="+mn-ea"/>
                <a:cs typeface="Verdana"/>
              </a:rPr>
              <a:t>US</a:t>
            </a:r>
            <a:r>
              <a:rPr kumimoji="0" sz="1400" b="0" i="0" u="none" strike="noStrike" kern="1200" cap="none" spc="-140" normalizeH="0" baseline="0" noProof="0" dirty="0">
                <a:ln>
                  <a:noFill/>
                </a:ln>
                <a:solidFill>
                  <a:srgbClr val="FFFFFF"/>
                </a:solidFill>
                <a:effectLst/>
                <a:uLnTx/>
                <a:uFillTx/>
                <a:latin typeface="Verdana"/>
                <a:ea typeface="+mn-ea"/>
                <a:cs typeface="Verdana"/>
              </a:rPr>
              <a:t> </a:t>
            </a:r>
            <a:r>
              <a:rPr kumimoji="0" sz="1400" b="0" i="0" u="none" strike="noStrike" kern="1200" cap="none" spc="-70" normalizeH="0" baseline="0" noProof="0" dirty="0">
                <a:ln>
                  <a:noFill/>
                </a:ln>
                <a:solidFill>
                  <a:srgbClr val="FFFFFF"/>
                </a:solidFill>
                <a:effectLst/>
                <a:uLnTx/>
                <a:uFillTx/>
                <a:latin typeface="Verdana"/>
                <a:ea typeface="+mn-ea"/>
                <a:cs typeface="Verdana"/>
              </a:rPr>
              <a:t>is</a:t>
            </a:r>
            <a:r>
              <a:rPr kumimoji="0" sz="1400" b="0" i="0" u="none" strike="noStrike" kern="1200" cap="none" spc="-135" normalizeH="0" baseline="0" noProof="0" dirty="0">
                <a:ln>
                  <a:noFill/>
                </a:ln>
                <a:solidFill>
                  <a:srgbClr val="FFFFFF"/>
                </a:solidFill>
                <a:effectLst/>
                <a:uLnTx/>
                <a:uFillTx/>
                <a:latin typeface="Verdana"/>
                <a:ea typeface="+mn-ea"/>
                <a:cs typeface="Verdana"/>
              </a:rPr>
              <a:t> </a:t>
            </a:r>
            <a:r>
              <a:rPr kumimoji="0" sz="1400" b="0" i="0" u="none" strike="noStrike" kern="1200" cap="none" spc="-45" normalizeH="0" baseline="0" noProof="0" dirty="0">
                <a:ln>
                  <a:noFill/>
                </a:ln>
                <a:solidFill>
                  <a:srgbClr val="FFFFFF"/>
                </a:solidFill>
                <a:effectLst/>
                <a:uLnTx/>
                <a:uFillTx/>
                <a:latin typeface="Verdana"/>
                <a:ea typeface="+mn-ea"/>
                <a:cs typeface="Verdana"/>
              </a:rPr>
              <a:t>top</a:t>
            </a:r>
            <a:r>
              <a:rPr kumimoji="0" sz="1400" b="0" i="0" u="none" strike="noStrike" kern="1200" cap="none" spc="-140" normalizeH="0" baseline="0" noProof="0" dirty="0">
                <a:ln>
                  <a:noFill/>
                </a:ln>
                <a:solidFill>
                  <a:srgbClr val="FFFFFF"/>
                </a:solidFill>
                <a:effectLst/>
                <a:uLnTx/>
                <a:uFillTx/>
                <a:latin typeface="Verdana"/>
                <a:ea typeface="+mn-ea"/>
                <a:cs typeface="Verdana"/>
              </a:rPr>
              <a:t> </a:t>
            </a:r>
            <a:r>
              <a:rPr kumimoji="0" sz="1400" b="0" i="0" u="none" strike="noStrike" kern="1200" cap="none" spc="-70" normalizeH="0" baseline="0" noProof="0" dirty="0">
                <a:ln>
                  <a:noFill/>
                </a:ln>
                <a:solidFill>
                  <a:srgbClr val="FFFFFF"/>
                </a:solidFill>
                <a:effectLst/>
                <a:uLnTx/>
                <a:uFillTx/>
                <a:latin typeface="Verdana"/>
                <a:ea typeface="+mn-ea"/>
                <a:cs typeface="Verdana"/>
              </a:rPr>
              <a:t>R&amp;D</a:t>
            </a:r>
            <a:r>
              <a:rPr kumimoji="0" sz="1400" b="0" i="0" u="none" strike="noStrike" kern="1200" cap="none" spc="-135" normalizeH="0" baseline="0" noProof="0" dirty="0">
                <a:ln>
                  <a:noFill/>
                </a:ln>
                <a:solidFill>
                  <a:srgbClr val="FFFFFF"/>
                </a:solidFill>
                <a:effectLst/>
                <a:uLnTx/>
                <a:uFillTx/>
                <a:latin typeface="Verdana"/>
                <a:ea typeface="+mn-ea"/>
                <a:cs typeface="Verdana"/>
              </a:rPr>
              <a:t> </a:t>
            </a:r>
            <a:r>
              <a:rPr kumimoji="0" sz="1400" b="0" i="0" u="none" strike="noStrike" kern="1200" cap="none" spc="-50" normalizeH="0" baseline="0" noProof="0" dirty="0">
                <a:ln>
                  <a:noFill/>
                </a:ln>
                <a:solidFill>
                  <a:srgbClr val="FFFFFF"/>
                </a:solidFill>
                <a:effectLst/>
                <a:uLnTx/>
                <a:uFillTx/>
                <a:latin typeface="Verdana"/>
                <a:ea typeface="+mn-ea"/>
                <a:cs typeface="Verdana"/>
              </a:rPr>
              <a:t>spender</a:t>
            </a:r>
            <a:r>
              <a:rPr kumimoji="0" sz="1400" b="0" i="0" u="none" strike="noStrike" kern="1200" cap="none" spc="-145" normalizeH="0" baseline="0" noProof="0" dirty="0">
                <a:ln>
                  <a:noFill/>
                </a:ln>
                <a:solidFill>
                  <a:srgbClr val="FFFFFF"/>
                </a:solidFill>
                <a:effectLst/>
                <a:uLnTx/>
                <a:uFillTx/>
                <a:latin typeface="Verdana"/>
                <a:ea typeface="+mn-ea"/>
                <a:cs typeface="Verdana"/>
              </a:rPr>
              <a:t> </a:t>
            </a:r>
            <a:r>
              <a:rPr kumimoji="0" sz="1400" b="0" i="0" u="none" strike="noStrike" kern="1200" cap="none" spc="-55" normalizeH="0" baseline="0" noProof="0" dirty="0">
                <a:ln>
                  <a:noFill/>
                </a:ln>
                <a:solidFill>
                  <a:srgbClr val="FFFFFF"/>
                </a:solidFill>
                <a:effectLst/>
                <a:uLnTx/>
                <a:uFillTx/>
                <a:latin typeface="Verdana"/>
                <a:ea typeface="+mn-ea"/>
                <a:cs typeface="Verdana"/>
              </a:rPr>
              <a:t>in</a:t>
            </a:r>
            <a:r>
              <a:rPr kumimoji="0" sz="1400" b="0" i="0" u="none" strike="noStrike" kern="1200" cap="none" spc="-160" normalizeH="0" baseline="0" noProof="0" dirty="0">
                <a:ln>
                  <a:noFill/>
                </a:ln>
                <a:solidFill>
                  <a:srgbClr val="FFFFFF"/>
                </a:solidFill>
                <a:effectLst/>
                <a:uLnTx/>
                <a:uFillTx/>
                <a:latin typeface="Verdana"/>
                <a:ea typeface="+mn-ea"/>
                <a:cs typeface="Verdana"/>
              </a:rPr>
              <a:t> </a:t>
            </a:r>
            <a:r>
              <a:rPr kumimoji="0" sz="1400" b="0" i="0" u="none" strike="noStrike" kern="1200" cap="none" spc="-95" normalizeH="0" baseline="0" noProof="0" dirty="0">
                <a:ln>
                  <a:noFill/>
                </a:ln>
                <a:solidFill>
                  <a:srgbClr val="FFFFFF"/>
                </a:solidFill>
                <a:effectLst/>
                <a:uLnTx/>
                <a:uFillTx/>
                <a:latin typeface="Verdana"/>
                <a:ea typeface="+mn-ea"/>
                <a:cs typeface="Verdana"/>
              </a:rPr>
              <a:t>2018,  </a:t>
            </a:r>
            <a:r>
              <a:rPr kumimoji="0" sz="1400" b="0" i="0" u="none" strike="noStrike" kern="1200" cap="none" spc="-85" normalizeH="0" baseline="0" noProof="0" dirty="0">
                <a:ln>
                  <a:noFill/>
                </a:ln>
                <a:solidFill>
                  <a:srgbClr val="FFFFFF"/>
                </a:solidFill>
                <a:effectLst/>
                <a:uLnTx/>
                <a:uFillTx/>
                <a:latin typeface="Verdana"/>
                <a:ea typeface="+mn-ea"/>
                <a:cs typeface="Verdana"/>
              </a:rPr>
              <a:t>with US$582B </a:t>
            </a:r>
            <a:r>
              <a:rPr kumimoji="0" sz="1400" b="0" i="0" u="none" strike="noStrike" kern="1200" cap="none" spc="-65" normalizeH="0" baseline="0" noProof="0" dirty="0">
                <a:ln>
                  <a:noFill/>
                </a:ln>
                <a:solidFill>
                  <a:srgbClr val="FFFFFF"/>
                </a:solidFill>
                <a:effectLst/>
                <a:uLnTx/>
                <a:uFillTx/>
                <a:latin typeface="Verdana"/>
                <a:ea typeface="+mn-ea"/>
                <a:cs typeface="Verdana"/>
              </a:rPr>
              <a:t>spent </a:t>
            </a:r>
            <a:r>
              <a:rPr kumimoji="0" sz="1400" b="0" i="0" u="none" strike="noStrike" kern="1200" cap="none" spc="-45" normalizeH="0" baseline="0" noProof="0" dirty="0">
                <a:ln>
                  <a:noFill/>
                </a:ln>
                <a:solidFill>
                  <a:srgbClr val="FFFFFF"/>
                </a:solidFill>
                <a:effectLst/>
                <a:uLnTx/>
                <a:uFillTx/>
                <a:latin typeface="Verdana"/>
                <a:ea typeface="+mn-ea"/>
                <a:cs typeface="Verdana"/>
              </a:rPr>
              <a:t>on</a:t>
            </a:r>
            <a:r>
              <a:rPr kumimoji="0" sz="1400" b="0" i="0" u="none" strike="noStrike" kern="1200" cap="none" spc="-390" normalizeH="0" baseline="0" noProof="0" dirty="0">
                <a:ln>
                  <a:noFill/>
                </a:ln>
                <a:solidFill>
                  <a:srgbClr val="FFFFFF"/>
                </a:solidFill>
                <a:effectLst/>
                <a:uLnTx/>
                <a:uFillTx/>
                <a:latin typeface="Verdana"/>
                <a:ea typeface="+mn-ea"/>
                <a:cs typeface="Verdana"/>
              </a:rPr>
              <a:t> </a:t>
            </a:r>
            <a:r>
              <a:rPr kumimoji="0" sz="1400" b="0" i="0" u="none" strike="noStrike" kern="1200" cap="none" spc="-85" normalizeH="0" baseline="0" noProof="0" dirty="0">
                <a:ln>
                  <a:noFill/>
                </a:ln>
                <a:solidFill>
                  <a:srgbClr val="FFFFFF"/>
                </a:solidFill>
                <a:effectLst/>
                <a:uLnTx/>
                <a:uFillTx/>
                <a:latin typeface="Verdana"/>
                <a:ea typeface="+mn-ea"/>
                <a:cs typeface="Verdana"/>
              </a:rPr>
              <a:t>research  </a:t>
            </a:r>
            <a:r>
              <a:rPr kumimoji="0" sz="1400" b="0" i="0" u="none" strike="noStrike" kern="1200" cap="none" spc="-180" normalizeH="0" baseline="0" noProof="0" dirty="0">
                <a:ln>
                  <a:noFill/>
                </a:ln>
                <a:solidFill>
                  <a:srgbClr val="FFFFFF"/>
                </a:solidFill>
                <a:effectLst/>
                <a:uLnTx/>
                <a:uFillTx/>
                <a:latin typeface="Verdana"/>
                <a:ea typeface="+mn-ea"/>
                <a:cs typeface="Verdana"/>
              </a:rPr>
              <a:t>(2.8% </a:t>
            </a:r>
            <a:r>
              <a:rPr kumimoji="0" sz="1400" b="0" i="0" u="none" strike="noStrike" kern="1200" cap="none" spc="-50" normalizeH="0" baseline="0" noProof="0" dirty="0">
                <a:ln>
                  <a:noFill/>
                </a:ln>
                <a:solidFill>
                  <a:srgbClr val="FFFFFF"/>
                </a:solidFill>
                <a:effectLst/>
                <a:uLnTx/>
                <a:uFillTx/>
                <a:latin typeface="Verdana"/>
                <a:ea typeface="+mn-ea"/>
                <a:cs typeface="Verdana"/>
              </a:rPr>
              <a:t>of</a:t>
            </a:r>
            <a:r>
              <a:rPr kumimoji="0" sz="1400" b="0" i="0" u="none" strike="noStrike" kern="1200" cap="none" spc="-60" normalizeH="0" baseline="0" noProof="0" dirty="0">
                <a:ln>
                  <a:noFill/>
                </a:ln>
                <a:solidFill>
                  <a:srgbClr val="FFFFFF"/>
                </a:solidFill>
                <a:effectLst/>
                <a:uLnTx/>
                <a:uFillTx/>
                <a:latin typeface="Verdana"/>
                <a:ea typeface="+mn-ea"/>
                <a:cs typeface="Verdana"/>
              </a:rPr>
              <a:t> </a:t>
            </a:r>
            <a:r>
              <a:rPr kumimoji="0" sz="1400" b="0" i="0" u="none" strike="noStrike" kern="1200" cap="none" spc="-90" normalizeH="0" baseline="0" noProof="0" dirty="0">
                <a:ln>
                  <a:noFill/>
                </a:ln>
                <a:solidFill>
                  <a:srgbClr val="FFFFFF"/>
                </a:solidFill>
                <a:effectLst/>
                <a:uLnTx/>
                <a:uFillTx/>
                <a:latin typeface="Verdana"/>
                <a:ea typeface="+mn-ea"/>
                <a:cs typeface="Verdana"/>
              </a:rPr>
              <a:t>GDP).</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151130" marR="0" lvl="0" indent="-100965" algn="just" defTabSz="914400" rtl="0" eaLnBrk="1" fontAlgn="auto" latinLnBrk="0" hangingPunct="1">
              <a:lnSpc>
                <a:spcPct val="100000"/>
              </a:lnSpc>
              <a:spcBef>
                <a:spcPts val="0"/>
              </a:spcBef>
              <a:spcAft>
                <a:spcPts val="0"/>
              </a:spcAft>
              <a:buClrTx/>
              <a:buSzTx/>
              <a:buFontTx/>
              <a:buChar char="-"/>
              <a:tabLst>
                <a:tab pos="151765" algn="l"/>
              </a:tabLst>
              <a:defRPr/>
            </a:pPr>
            <a:r>
              <a:rPr kumimoji="0" sz="1400" b="0" i="0" u="none" strike="noStrike" kern="1200" cap="none" spc="-50" normalizeH="0" baseline="0" noProof="0" dirty="0">
                <a:ln>
                  <a:noFill/>
                </a:ln>
                <a:solidFill>
                  <a:srgbClr val="FFFFFF"/>
                </a:solidFill>
                <a:effectLst/>
                <a:uLnTx/>
                <a:uFillTx/>
                <a:latin typeface="Verdana"/>
                <a:ea typeface="+mn-ea"/>
                <a:cs typeface="Verdana"/>
              </a:rPr>
              <a:t>China </a:t>
            </a:r>
            <a:r>
              <a:rPr kumimoji="0" sz="1400" b="0" i="0" u="none" strike="noStrike" kern="1200" cap="none" spc="-20" normalizeH="0" baseline="0" noProof="0" dirty="0">
                <a:ln>
                  <a:noFill/>
                </a:ln>
                <a:solidFill>
                  <a:srgbClr val="FFFFFF"/>
                </a:solidFill>
                <a:effectLst/>
                <a:uLnTx/>
                <a:uFillTx/>
                <a:latin typeface="Verdana"/>
                <a:ea typeface="+mn-ea"/>
                <a:cs typeface="Verdana"/>
              </a:rPr>
              <a:t>2</a:t>
            </a:r>
            <a:r>
              <a:rPr kumimoji="0" sz="1350" b="0" i="0" u="none" strike="noStrike" kern="1200" cap="none" spc="-30" normalizeH="0" baseline="27777" noProof="0" dirty="0">
                <a:ln>
                  <a:noFill/>
                </a:ln>
                <a:solidFill>
                  <a:srgbClr val="FFFFFF"/>
                </a:solidFill>
                <a:effectLst/>
                <a:uLnTx/>
                <a:uFillTx/>
                <a:latin typeface="Verdana"/>
                <a:ea typeface="+mn-ea"/>
                <a:cs typeface="Verdana"/>
              </a:rPr>
              <a:t>nd </a:t>
            </a:r>
            <a:r>
              <a:rPr kumimoji="0" sz="1400" b="0" i="0" u="none" strike="noStrike" kern="1200" cap="none" spc="-55" normalizeH="0" baseline="0" noProof="0" dirty="0">
                <a:ln>
                  <a:noFill/>
                </a:ln>
                <a:solidFill>
                  <a:srgbClr val="FFFFFF"/>
                </a:solidFill>
                <a:effectLst/>
                <a:uLnTx/>
                <a:uFillTx/>
                <a:latin typeface="Verdana"/>
                <a:ea typeface="+mn-ea"/>
                <a:cs typeface="Verdana"/>
              </a:rPr>
              <a:t>in</a:t>
            </a:r>
            <a:r>
              <a:rPr kumimoji="0" sz="1400" b="0" i="0" u="none" strike="noStrike" kern="1200" cap="none" spc="-385" normalizeH="0" baseline="0" noProof="0" dirty="0">
                <a:ln>
                  <a:noFill/>
                </a:ln>
                <a:solidFill>
                  <a:srgbClr val="FFFFFF"/>
                </a:solidFill>
                <a:effectLst/>
                <a:uLnTx/>
                <a:uFillTx/>
                <a:latin typeface="Verdana"/>
                <a:ea typeface="+mn-ea"/>
                <a:cs typeface="Verdana"/>
              </a:rPr>
              <a:t> </a:t>
            </a:r>
            <a:r>
              <a:rPr kumimoji="0" sz="1400" b="0" i="0" u="none" strike="noStrike" kern="1200" cap="none" spc="-95" normalizeH="0" baseline="0" noProof="0" dirty="0">
                <a:ln>
                  <a:noFill/>
                </a:ln>
                <a:solidFill>
                  <a:srgbClr val="FFFFFF"/>
                </a:solidFill>
                <a:effectLst/>
                <a:uLnTx/>
                <a:uFillTx/>
                <a:latin typeface="Verdana"/>
                <a:ea typeface="+mn-ea"/>
                <a:cs typeface="Verdana"/>
              </a:rPr>
              <a:t>2018, </a:t>
            </a:r>
            <a:r>
              <a:rPr kumimoji="0" sz="1400" b="0" i="0" u="none" strike="noStrike" kern="1200" cap="none" spc="-75" normalizeH="0" baseline="0" noProof="0" dirty="0">
                <a:ln>
                  <a:noFill/>
                </a:ln>
                <a:solidFill>
                  <a:srgbClr val="FFFFFF"/>
                </a:solidFill>
                <a:effectLst/>
                <a:uLnTx/>
                <a:uFillTx/>
                <a:latin typeface="Verdana"/>
                <a:ea typeface="+mn-ea"/>
                <a:cs typeface="Verdana"/>
              </a:rPr>
              <a:t>having </a:t>
            </a:r>
            <a:r>
              <a:rPr kumimoji="0" sz="1400" b="0" i="0" u="none" strike="noStrike" kern="1200" cap="none" spc="-65" normalizeH="0" baseline="0" noProof="0" dirty="0">
                <a:ln>
                  <a:noFill/>
                </a:ln>
                <a:solidFill>
                  <a:srgbClr val="FFFFFF"/>
                </a:solidFill>
                <a:effectLst/>
                <a:uLnTx/>
                <a:uFillTx/>
                <a:latin typeface="Verdana"/>
                <a:ea typeface="+mn-ea"/>
                <a:cs typeface="Verdana"/>
              </a:rPr>
              <a:t>spent</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50800" marR="0" lvl="0" indent="0" algn="just"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85" normalizeH="0" baseline="0" noProof="0" dirty="0">
                <a:ln>
                  <a:noFill/>
                </a:ln>
                <a:solidFill>
                  <a:srgbClr val="FFFFFF"/>
                </a:solidFill>
                <a:effectLst/>
                <a:uLnTx/>
                <a:uFillTx/>
                <a:latin typeface="Verdana"/>
                <a:ea typeface="+mn-ea"/>
                <a:cs typeface="Verdana"/>
              </a:rPr>
              <a:t>US$554B </a:t>
            </a:r>
            <a:r>
              <a:rPr kumimoji="0" sz="1400" b="0" i="0" u="none" strike="noStrike" kern="1200" cap="none" spc="-180" normalizeH="0" baseline="0" noProof="0" dirty="0">
                <a:ln>
                  <a:noFill/>
                </a:ln>
                <a:solidFill>
                  <a:srgbClr val="FFFFFF"/>
                </a:solidFill>
                <a:effectLst/>
                <a:uLnTx/>
                <a:uFillTx/>
                <a:latin typeface="Verdana"/>
                <a:ea typeface="+mn-ea"/>
                <a:cs typeface="Verdana"/>
              </a:rPr>
              <a:t>(2.2% </a:t>
            </a:r>
            <a:r>
              <a:rPr kumimoji="0" sz="1400" b="0" i="0" u="none" strike="noStrike" kern="1200" cap="none" spc="-50" normalizeH="0" baseline="0" noProof="0" dirty="0">
                <a:ln>
                  <a:noFill/>
                </a:ln>
                <a:solidFill>
                  <a:srgbClr val="FFFFFF"/>
                </a:solidFill>
                <a:effectLst/>
                <a:uLnTx/>
                <a:uFillTx/>
                <a:latin typeface="Verdana"/>
                <a:ea typeface="+mn-ea"/>
                <a:cs typeface="Verdana"/>
              </a:rPr>
              <a:t>of</a:t>
            </a:r>
            <a:r>
              <a:rPr kumimoji="0" sz="1400" b="0" i="0" u="none" strike="noStrike" kern="1200" cap="none" spc="-120" normalizeH="0" baseline="0" noProof="0" dirty="0">
                <a:ln>
                  <a:noFill/>
                </a:ln>
                <a:solidFill>
                  <a:srgbClr val="FFFFFF"/>
                </a:solidFill>
                <a:effectLst/>
                <a:uLnTx/>
                <a:uFillTx/>
                <a:latin typeface="Verdana"/>
                <a:ea typeface="+mn-ea"/>
                <a:cs typeface="Verdana"/>
              </a:rPr>
              <a:t> </a:t>
            </a:r>
            <a:r>
              <a:rPr kumimoji="0" sz="1400" b="0" i="0" u="none" strike="noStrike" kern="1200" cap="none" spc="-75" normalizeH="0" baseline="0" noProof="0" dirty="0">
                <a:ln>
                  <a:noFill/>
                </a:ln>
                <a:solidFill>
                  <a:srgbClr val="FFFFFF"/>
                </a:solidFill>
                <a:effectLst/>
                <a:uLnTx/>
                <a:uFillTx/>
                <a:latin typeface="Verdana"/>
                <a:ea typeface="+mn-ea"/>
                <a:cs typeface="Verdana"/>
              </a:rPr>
              <a:t>GDP)</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50800" marR="233679" lvl="0" indent="0" algn="l" defTabSz="914400" rtl="0" eaLnBrk="1" fontAlgn="auto" latinLnBrk="0" hangingPunct="1">
              <a:lnSpc>
                <a:spcPct val="100000"/>
              </a:lnSpc>
              <a:spcBef>
                <a:spcPts val="5"/>
              </a:spcBef>
              <a:spcAft>
                <a:spcPts val="0"/>
              </a:spcAft>
              <a:buClrTx/>
              <a:buSzTx/>
              <a:buFontTx/>
              <a:buChar char="-"/>
              <a:tabLst>
                <a:tab pos="151765" algn="l"/>
              </a:tabLst>
              <a:defRPr/>
            </a:pPr>
            <a:r>
              <a:rPr kumimoji="0" sz="1400" b="0" i="0" u="none" strike="noStrike" kern="1200" cap="none" spc="-45" normalizeH="0" baseline="0" noProof="0" dirty="0">
                <a:ln>
                  <a:noFill/>
                </a:ln>
                <a:solidFill>
                  <a:srgbClr val="FFFFFF"/>
                </a:solidFill>
                <a:effectLst/>
                <a:uLnTx/>
                <a:uFillTx/>
                <a:latin typeface="Verdana"/>
                <a:ea typeface="+mn-ea"/>
                <a:cs typeface="Verdana"/>
              </a:rPr>
              <a:t>Japan</a:t>
            </a:r>
            <a:r>
              <a:rPr kumimoji="0" sz="1400" b="0" i="0" u="none" strike="noStrike" kern="1200" cap="none" spc="-160" normalizeH="0" baseline="0" noProof="0" dirty="0">
                <a:ln>
                  <a:noFill/>
                </a:ln>
                <a:solidFill>
                  <a:srgbClr val="FFFFFF"/>
                </a:solidFill>
                <a:effectLst/>
                <a:uLnTx/>
                <a:uFillTx/>
                <a:latin typeface="Verdana"/>
                <a:ea typeface="+mn-ea"/>
                <a:cs typeface="Verdana"/>
              </a:rPr>
              <a:t> </a:t>
            </a:r>
            <a:r>
              <a:rPr kumimoji="0" sz="1400" b="0" i="0" u="none" strike="noStrike" kern="1200" cap="none" spc="-55" normalizeH="0" baseline="0" noProof="0" dirty="0">
                <a:ln>
                  <a:noFill/>
                </a:ln>
                <a:solidFill>
                  <a:srgbClr val="FFFFFF"/>
                </a:solidFill>
                <a:effectLst/>
                <a:uLnTx/>
                <a:uFillTx/>
                <a:latin typeface="Verdana"/>
                <a:ea typeface="+mn-ea"/>
                <a:cs typeface="Verdana"/>
              </a:rPr>
              <a:t>in</a:t>
            </a:r>
            <a:r>
              <a:rPr kumimoji="0" sz="1400" b="0" i="0" u="none" strike="noStrike" kern="1200" cap="none" spc="-160" normalizeH="0" baseline="0" noProof="0" dirty="0">
                <a:ln>
                  <a:noFill/>
                </a:ln>
                <a:solidFill>
                  <a:srgbClr val="FFFFFF"/>
                </a:solidFill>
                <a:effectLst/>
                <a:uLnTx/>
                <a:uFillTx/>
                <a:latin typeface="Verdana"/>
                <a:ea typeface="+mn-ea"/>
                <a:cs typeface="Verdana"/>
              </a:rPr>
              <a:t> </a:t>
            </a:r>
            <a:r>
              <a:rPr kumimoji="0" sz="1400" b="0" i="0" u="none" strike="noStrike" kern="1200" cap="none" spc="-65" normalizeH="0" baseline="0" noProof="0" dirty="0">
                <a:ln>
                  <a:noFill/>
                </a:ln>
                <a:solidFill>
                  <a:srgbClr val="FFFFFF"/>
                </a:solidFill>
                <a:effectLst/>
                <a:uLnTx/>
                <a:uFillTx/>
                <a:latin typeface="Verdana"/>
                <a:ea typeface="+mn-ea"/>
                <a:cs typeface="Verdana"/>
              </a:rPr>
              <a:t>3</a:t>
            </a:r>
            <a:r>
              <a:rPr kumimoji="0" sz="1350" b="0" i="0" u="none" strike="noStrike" kern="1200" cap="none" spc="-97" normalizeH="0" baseline="27777" noProof="0" dirty="0">
                <a:ln>
                  <a:noFill/>
                </a:ln>
                <a:solidFill>
                  <a:srgbClr val="FFFFFF"/>
                </a:solidFill>
                <a:effectLst/>
                <a:uLnTx/>
                <a:uFillTx/>
                <a:latin typeface="Verdana"/>
                <a:ea typeface="+mn-ea"/>
                <a:cs typeface="Verdana"/>
              </a:rPr>
              <a:t>rd</a:t>
            </a:r>
            <a:r>
              <a:rPr kumimoji="0" sz="1400" b="0" i="0" u="none" strike="noStrike" kern="1200" cap="none" spc="-65" normalizeH="0" baseline="0" noProof="0" dirty="0">
                <a:ln>
                  <a:noFill/>
                </a:ln>
                <a:solidFill>
                  <a:srgbClr val="FFFFFF"/>
                </a:solidFill>
                <a:effectLst/>
                <a:uLnTx/>
                <a:uFillTx/>
                <a:latin typeface="Verdana"/>
                <a:ea typeface="+mn-ea"/>
                <a:cs typeface="Verdana"/>
              </a:rPr>
              <a:t>,</a:t>
            </a:r>
            <a:r>
              <a:rPr kumimoji="0" sz="1400" b="0" i="0" u="none" strike="noStrike" kern="1200" cap="none" spc="-190" normalizeH="0" baseline="0" noProof="0" dirty="0">
                <a:ln>
                  <a:noFill/>
                </a:ln>
                <a:solidFill>
                  <a:srgbClr val="FFFFFF"/>
                </a:solidFill>
                <a:effectLst/>
                <a:uLnTx/>
                <a:uFillTx/>
                <a:latin typeface="Verdana"/>
                <a:ea typeface="+mn-ea"/>
                <a:cs typeface="Verdana"/>
              </a:rPr>
              <a:t> </a:t>
            </a:r>
            <a:r>
              <a:rPr kumimoji="0" sz="1400" b="0" i="0" u="none" strike="noStrike" kern="1200" cap="none" spc="-120" normalizeH="0" baseline="0" noProof="0" dirty="0">
                <a:ln>
                  <a:noFill/>
                </a:ln>
                <a:solidFill>
                  <a:srgbClr val="FFFFFF"/>
                </a:solidFill>
                <a:effectLst/>
                <a:uLnTx/>
                <a:uFillTx/>
                <a:latin typeface="Verdana"/>
                <a:ea typeface="+mn-ea"/>
                <a:cs typeface="Verdana"/>
              </a:rPr>
              <a:t>at</a:t>
            </a:r>
            <a:r>
              <a:rPr kumimoji="0" sz="1400" b="0" i="0" u="none" strike="noStrike" kern="1200" cap="none" spc="-130" normalizeH="0" baseline="0" noProof="0" dirty="0">
                <a:ln>
                  <a:noFill/>
                </a:ln>
                <a:solidFill>
                  <a:srgbClr val="FFFFFF"/>
                </a:solidFill>
                <a:effectLst/>
                <a:uLnTx/>
                <a:uFillTx/>
                <a:latin typeface="Verdana"/>
                <a:ea typeface="+mn-ea"/>
                <a:cs typeface="Verdana"/>
              </a:rPr>
              <a:t> </a:t>
            </a:r>
            <a:r>
              <a:rPr kumimoji="0" sz="1400" b="0" i="0" u="none" strike="noStrike" kern="1200" cap="none" spc="-85" normalizeH="0" baseline="0" noProof="0" dirty="0">
                <a:ln>
                  <a:noFill/>
                </a:ln>
                <a:solidFill>
                  <a:srgbClr val="FFFFFF"/>
                </a:solidFill>
                <a:effectLst/>
                <a:uLnTx/>
                <a:uFillTx/>
                <a:latin typeface="Verdana"/>
                <a:ea typeface="+mn-ea"/>
                <a:cs typeface="Verdana"/>
              </a:rPr>
              <a:t>US$171B</a:t>
            </a:r>
            <a:r>
              <a:rPr kumimoji="0" sz="1400" b="0" i="0" u="none" strike="noStrike" kern="1200" cap="none" spc="-160" normalizeH="0" baseline="0" noProof="0" dirty="0">
                <a:ln>
                  <a:noFill/>
                </a:ln>
                <a:solidFill>
                  <a:srgbClr val="FFFFFF"/>
                </a:solidFill>
                <a:effectLst/>
                <a:uLnTx/>
                <a:uFillTx/>
                <a:latin typeface="Verdana"/>
                <a:ea typeface="+mn-ea"/>
                <a:cs typeface="Verdana"/>
              </a:rPr>
              <a:t> </a:t>
            </a:r>
            <a:r>
              <a:rPr kumimoji="0" sz="1400" b="0" i="0" u="none" strike="noStrike" kern="1200" cap="none" spc="-180" normalizeH="0" baseline="0" noProof="0" dirty="0">
                <a:ln>
                  <a:noFill/>
                </a:ln>
                <a:solidFill>
                  <a:srgbClr val="FFFFFF"/>
                </a:solidFill>
                <a:effectLst/>
                <a:uLnTx/>
                <a:uFillTx/>
                <a:latin typeface="Verdana"/>
                <a:ea typeface="+mn-ea"/>
                <a:cs typeface="Verdana"/>
              </a:rPr>
              <a:t>(3.3%</a:t>
            </a:r>
            <a:r>
              <a:rPr kumimoji="0" sz="1400" b="0" i="0" u="none" strike="noStrike" kern="1200" cap="none" spc="-130" normalizeH="0" baseline="0" noProof="0" dirty="0">
                <a:ln>
                  <a:noFill/>
                </a:ln>
                <a:solidFill>
                  <a:srgbClr val="FFFFFF"/>
                </a:solidFill>
                <a:effectLst/>
                <a:uLnTx/>
                <a:uFillTx/>
                <a:latin typeface="Verdana"/>
                <a:ea typeface="+mn-ea"/>
                <a:cs typeface="Verdana"/>
              </a:rPr>
              <a:t> </a:t>
            </a:r>
            <a:r>
              <a:rPr kumimoji="0" sz="1400" b="0" i="0" u="none" strike="noStrike" kern="1200" cap="none" spc="-50" normalizeH="0" baseline="0" noProof="0" dirty="0">
                <a:ln>
                  <a:noFill/>
                </a:ln>
                <a:solidFill>
                  <a:srgbClr val="FFFFFF"/>
                </a:solidFill>
                <a:effectLst/>
                <a:uLnTx/>
                <a:uFillTx/>
                <a:latin typeface="Verdana"/>
                <a:ea typeface="+mn-ea"/>
                <a:cs typeface="Verdana"/>
              </a:rPr>
              <a:t>of  </a:t>
            </a:r>
            <a:r>
              <a:rPr kumimoji="0" sz="1400" b="0" i="0" u="none" strike="noStrike" kern="1200" cap="none" spc="-70" normalizeH="0" baseline="0" noProof="0" dirty="0">
                <a:ln>
                  <a:noFill/>
                </a:ln>
                <a:solidFill>
                  <a:srgbClr val="FFFFFF"/>
                </a:solidFill>
                <a:effectLst/>
                <a:uLnTx/>
                <a:uFillTx/>
                <a:latin typeface="Verdana"/>
                <a:ea typeface="+mn-ea"/>
                <a:cs typeface="Verdana"/>
              </a:rPr>
              <a:t>GDP)</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151130" marR="0" lvl="0" indent="-100965" algn="l" defTabSz="914400" rtl="0" eaLnBrk="1" fontAlgn="auto" latinLnBrk="0" hangingPunct="1">
              <a:lnSpc>
                <a:spcPct val="100000"/>
              </a:lnSpc>
              <a:spcBef>
                <a:spcPts val="0"/>
              </a:spcBef>
              <a:spcAft>
                <a:spcPts val="0"/>
              </a:spcAft>
              <a:buClrTx/>
              <a:buSzTx/>
              <a:buFontTx/>
              <a:buChar char="-"/>
              <a:tabLst>
                <a:tab pos="151765" algn="l"/>
              </a:tabLst>
              <a:defRPr/>
            </a:pPr>
            <a:r>
              <a:rPr kumimoji="0" sz="1400" b="0" i="0" u="none" strike="noStrike" kern="1200" cap="none" spc="-60" normalizeH="0" baseline="0" noProof="0" dirty="0">
                <a:ln>
                  <a:noFill/>
                </a:ln>
                <a:solidFill>
                  <a:srgbClr val="FFFFFF"/>
                </a:solidFill>
                <a:effectLst/>
                <a:uLnTx/>
                <a:uFillTx/>
                <a:latin typeface="Verdana"/>
                <a:ea typeface="+mn-ea"/>
                <a:cs typeface="Verdana"/>
              </a:rPr>
              <a:t>Singapore </a:t>
            </a:r>
            <a:r>
              <a:rPr kumimoji="0" sz="1400" b="0" i="0" u="none" strike="noStrike" kern="1200" cap="none" spc="-65" normalizeH="0" baseline="0" noProof="0" dirty="0">
                <a:ln>
                  <a:noFill/>
                </a:ln>
                <a:solidFill>
                  <a:srgbClr val="FFFFFF"/>
                </a:solidFill>
                <a:effectLst/>
                <a:uLnTx/>
                <a:uFillTx/>
                <a:latin typeface="Verdana"/>
                <a:ea typeface="+mn-ea"/>
                <a:cs typeface="Verdana"/>
              </a:rPr>
              <a:t>spent </a:t>
            </a:r>
            <a:r>
              <a:rPr kumimoji="0" sz="1400" b="0" i="0" u="none" strike="noStrike" kern="1200" cap="none" spc="-165" normalizeH="0" baseline="0" noProof="0" dirty="0">
                <a:ln>
                  <a:noFill/>
                </a:ln>
                <a:solidFill>
                  <a:srgbClr val="FFFFFF"/>
                </a:solidFill>
                <a:effectLst/>
                <a:uLnTx/>
                <a:uFillTx/>
                <a:latin typeface="Verdana"/>
                <a:ea typeface="+mn-ea"/>
                <a:cs typeface="Verdana"/>
              </a:rPr>
              <a:t>1.8% </a:t>
            </a:r>
            <a:r>
              <a:rPr kumimoji="0" sz="1400" b="0" i="0" u="none" strike="noStrike" kern="1200" cap="none" spc="-50" normalizeH="0" baseline="0" noProof="0" dirty="0">
                <a:ln>
                  <a:noFill/>
                </a:ln>
                <a:solidFill>
                  <a:srgbClr val="FFFFFF"/>
                </a:solidFill>
                <a:effectLst/>
                <a:uLnTx/>
                <a:uFillTx/>
                <a:latin typeface="Verdana"/>
                <a:ea typeface="+mn-ea"/>
                <a:cs typeface="Verdana"/>
              </a:rPr>
              <a:t>of </a:t>
            </a:r>
            <a:r>
              <a:rPr kumimoji="0" sz="1400" b="0" i="0" u="none" strike="noStrike" kern="1200" cap="none" spc="-25" normalizeH="0" baseline="0" noProof="0" dirty="0">
                <a:ln>
                  <a:noFill/>
                </a:ln>
                <a:solidFill>
                  <a:srgbClr val="FFFFFF"/>
                </a:solidFill>
                <a:effectLst/>
                <a:uLnTx/>
                <a:uFillTx/>
                <a:latin typeface="Verdana"/>
                <a:ea typeface="+mn-ea"/>
                <a:cs typeface="Verdana"/>
              </a:rPr>
              <a:t>GDP</a:t>
            </a:r>
            <a:r>
              <a:rPr kumimoji="0" sz="1400" b="0" i="0" u="none" strike="noStrike" kern="1200" cap="none" spc="-350" normalizeH="0" baseline="0" noProof="0" dirty="0">
                <a:ln>
                  <a:noFill/>
                </a:ln>
                <a:solidFill>
                  <a:srgbClr val="FFFFFF"/>
                </a:solidFill>
                <a:effectLst/>
                <a:uLnTx/>
                <a:uFillTx/>
                <a:latin typeface="Verdana"/>
                <a:ea typeface="+mn-ea"/>
                <a:cs typeface="Verdana"/>
              </a:rPr>
              <a:t> </a:t>
            </a:r>
            <a:r>
              <a:rPr kumimoji="0" sz="1400" b="0" i="0" u="none" strike="noStrike" kern="1200" cap="none" spc="-50" normalizeH="0" baseline="0" noProof="0" dirty="0">
                <a:ln>
                  <a:noFill/>
                </a:ln>
                <a:solidFill>
                  <a:srgbClr val="FFFFFF"/>
                </a:solidFill>
                <a:effectLst/>
                <a:uLnTx/>
                <a:uFillTx/>
                <a:latin typeface="Verdana"/>
                <a:ea typeface="+mn-ea"/>
                <a:cs typeface="Verdana"/>
              </a:rPr>
              <a:t>on</a:t>
            </a:r>
            <a:endParaRPr kumimoji="0" sz="1400" b="0" i="0" u="none" strike="noStrike" kern="1200" cap="none" spc="0" normalizeH="0" baseline="0" noProof="0">
              <a:ln>
                <a:noFill/>
              </a:ln>
              <a:solidFill>
                <a:prstClr val="black"/>
              </a:solidFill>
              <a:effectLst/>
              <a:uLnTx/>
              <a:uFillTx/>
              <a:latin typeface="Verdana"/>
              <a:ea typeface="+mn-ea"/>
              <a:cs typeface="Verdana"/>
            </a:endParaRPr>
          </a:p>
          <a:p>
            <a:pPr marL="50800" marR="0" lvl="0" indent="0" algn="just"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70" normalizeH="0" baseline="0" noProof="0" dirty="0">
                <a:ln>
                  <a:noFill/>
                </a:ln>
                <a:solidFill>
                  <a:srgbClr val="FFFFFF"/>
                </a:solidFill>
                <a:effectLst/>
                <a:uLnTx/>
                <a:uFillTx/>
                <a:latin typeface="Verdana"/>
                <a:ea typeface="+mn-ea"/>
                <a:cs typeface="Verdana"/>
              </a:rPr>
              <a:t>R&amp;D </a:t>
            </a:r>
            <a:r>
              <a:rPr kumimoji="0" sz="1400" b="0" i="0" u="none" strike="noStrike" kern="1200" cap="none" spc="-55" normalizeH="0" baseline="0" noProof="0" dirty="0">
                <a:ln>
                  <a:noFill/>
                </a:ln>
                <a:solidFill>
                  <a:srgbClr val="FFFFFF"/>
                </a:solidFill>
                <a:effectLst/>
                <a:uLnTx/>
                <a:uFillTx/>
                <a:latin typeface="Verdana"/>
                <a:ea typeface="+mn-ea"/>
                <a:cs typeface="Verdana"/>
              </a:rPr>
              <a:t>in</a:t>
            </a:r>
            <a:r>
              <a:rPr kumimoji="0" sz="1400" b="0" i="0" u="none" strike="noStrike" kern="1200" cap="none" spc="-225" normalizeH="0" baseline="0" noProof="0" dirty="0">
                <a:ln>
                  <a:noFill/>
                </a:ln>
                <a:solidFill>
                  <a:srgbClr val="FFFFFF"/>
                </a:solidFill>
                <a:effectLst/>
                <a:uLnTx/>
                <a:uFillTx/>
                <a:latin typeface="Verdana"/>
                <a:ea typeface="+mn-ea"/>
                <a:cs typeface="Verdana"/>
              </a:rPr>
              <a:t> </a:t>
            </a:r>
            <a:r>
              <a:rPr kumimoji="0" sz="1400" b="0" i="0" u="none" strike="noStrike" kern="1200" cap="none" spc="-95" normalizeH="0" baseline="0" noProof="0" dirty="0">
                <a:ln>
                  <a:noFill/>
                </a:ln>
                <a:solidFill>
                  <a:srgbClr val="FFFFFF"/>
                </a:solidFill>
                <a:effectLst/>
                <a:uLnTx/>
                <a:uFillTx/>
                <a:latin typeface="Verdana"/>
                <a:ea typeface="+mn-ea"/>
                <a:cs typeface="Verdana"/>
              </a:rPr>
              <a:t>2018.</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7" name="object 7"/>
          <p:cNvSpPr/>
          <p:nvPr/>
        </p:nvSpPr>
        <p:spPr>
          <a:xfrm>
            <a:off x="4395215" y="1697734"/>
            <a:ext cx="7147559" cy="5044438"/>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303" y="247599"/>
            <a:ext cx="10560050" cy="951865"/>
          </a:xfrm>
          <a:prstGeom prst="rect">
            <a:avLst/>
          </a:prstGeom>
        </p:spPr>
        <p:txBody>
          <a:bodyPr vert="horz" wrap="square" lIns="0" tIns="66675" rIns="0" bIns="0" rtlCol="0">
            <a:spAutoFit/>
          </a:bodyPr>
          <a:lstStyle/>
          <a:p>
            <a:pPr marL="12700" marR="5080">
              <a:lnSpc>
                <a:spcPts val="3460"/>
              </a:lnSpc>
              <a:spcBef>
                <a:spcPts val="525"/>
              </a:spcBef>
            </a:pPr>
            <a:r>
              <a:rPr sz="3200" spc="245" dirty="0"/>
              <a:t>From </a:t>
            </a:r>
            <a:r>
              <a:rPr sz="3200" spc="254" dirty="0"/>
              <a:t>Research </a:t>
            </a:r>
            <a:r>
              <a:rPr sz="3200" spc="275" dirty="0"/>
              <a:t>Excellence </a:t>
            </a:r>
            <a:r>
              <a:rPr sz="3200" spc="280" dirty="0"/>
              <a:t>to </a:t>
            </a:r>
            <a:r>
              <a:rPr sz="3200" spc="275" dirty="0"/>
              <a:t>Innovation </a:t>
            </a:r>
            <a:r>
              <a:rPr sz="3200" spc="225" dirty="0"/>
              <a:t>and  </a:t>
            </a:r>
            <a:r>
              <a:rPr sz="3200" spc="300" dirty="0"/>
              <a:t>Enterprise </a:t>
            </a:r>
            <a:r>
              <a:rPr sz="3200" spc="-660" dirty="0"/>
              <a:t>( </a:t>
            </a:r>
            <a:r>
              <a:rPr sz="3200" spc="30" dirty="0"/>
              <a:t>I&amp;E)</a:t>
            </a:r>
            <a:r>
              <a:rPr sz="3200" spc="140" dirty="0"/>
              <a:t> </a:t>
            </a:r>
            <a:r>
              <a:rPr sz="3200" spc="235" dirty="0"/>
              <a:t>Devt</a:t>
            </a:r>
            <a:endParaRPr sz="3200"/>
          </a:p>
        </p:txBody>
      </p:sp>
      <p:sp>
        <p:nvSpPr>
          <p:cNvPr id="3" name="object 3"/>
          <p:cNvSpPr/>
          <p:nvPr/>
        </p:nvSpPr>
        <p:spPr>
          <a:xfrm>
            <a:off x="466344" y="1444752"/>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10733023" y="6545681"/>
            <a:ext cx="1327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202184" y="6511849"/>
            <a:ext cx="1105535" cy="23812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s:</a:t>
            </a:r>
            <a:r>
              <a:rPr kumimoji="0" sz="1400" b="0" i="0" u="none" strike="noStrike" kern="1200" cap="none" spc="-175" normalizeH="0" baseline="0" noProof="0" dirty="0">
                <a:ln>
                  <a:noFill/>
                </a:ln>
                <a:solidFill>
                  <a:srgbClr val="FFFFFF"/>
                </a:solidFill>
                <a:effectLst/>
                <a:uLnTx/>
                <a:uFillTx/>
                <a:latin typeface="Verdana"/>
                <a:ea typeface="+mn-ea"/>
                <a:cs typeface="Verdana"/>
              </a:rPr>
              <a:t> </a:t>
            </a:r>
            <a:r>
              <a:rPr kumimoji="0" sz="1400" b="0" i="0" u="none" strike="noStrike" kern="1200" cap="none" spc="-55" normalizeH="0" baseline="0" noProof="0" dirty="0">
                <a:ln>
                  <a:noFill/>
                </a:ln>
                <a:solidFill>
                  <a:srgbClr val="FFFFFF"/>
                </a:solidFill>
                <a:effectLst/>
                <a:uLnTx/>
                <a:uFillTx/>
                <a:latin typeface="Verdana"/>
                <a:ea typeface="+mn-ea"/>
                <a:cs typeface="Verdana"/>
              </a:rPr>
              <a:t>NRF</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p:nvPr/>
        </p:nvSpPr>
        <p:spPr>
          <a:xfrm>
            <a:off x="3221735" y="1658111"/>
            <a:ext cx="8321040" cy="475488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txBox="1"/>
          <p:nvPr/>
        </p:nvSpPr>
        <p:spPr>
          <a:xfrm>
            <a:off x="447852" y="2107438"/>
            <a:ext cx="2538095" cy="2221230"/>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85" normalizeH="0" baseline="0" noProof="0" dirty="0">
                <a:ln>
                  <a:noFill/>
                </a:ln>
                <a:solidFill>
                  <a:srgbClr val="FFFFFF"/>
                </a:solidFill>
                <a:effectLst/>
                <a:uLnTx/>
                <a:uFillTx/>
                <a:latin typeface="Verdana"/>
                <a:ea typeface="+mn-ea"/>
                <a:cs typeface="Verdana"/>
              </a:rPr>
              <a:t>Whilst</a:t>
            </a:r>
            <a:r>
              <a:rPr kumimoji="0" sz="1800" b="0" i="0" u="none" strike="noStrike" kern="1200" cap="none" spc="-215" normalizeH="0" baseline="0" noProof="0" dirty="0">
                <a:ln>
                  <a:noFill/>
                </a:ln>
                <a:solidFill>
                  <a:srgbClr val="FFFFFF"/>
                </a:solidFill>
                <a:effectLst/>
                <a:uLnTx/>
                <a:uFillTx/>
                <a:latin typeface="Verdana"/>
                <a:ea typeface="+mn-ea"/>
                <a:cs typeface="Verdana"/>
              </a:rPr>
              <a:t> </a:t>
            </a:r>
            <a:r>
              <a:rPr kumimoji="0" sz="1800" b="0" i="0" u="none" strike="noStrike" kern="1200" cap="none" spc="-90" normalizeH="0" baseline="0" noProof="0" dirty="0">
                <a:ln>
                  <a:noFill/>
                </a:ln>
                <a:solidFill>
                  <a:srgbClr val="FFFFFF"/>
                </a:solidFill>
                <a:effectLst/>
                <a:uLnTx/>
                <a:uFillTx/>
                <a:latin typeface="Verdana"/>
                <a:ea typeface="+mn-ea"/>
                <a:cs typeface="Verdana"/>
              </a:rPr>
              <a:t>we</a:t>
            </a:r>
            <a:r>
              <a:rPr kumimoji="0" sz="1800" b="0" i="0" u="none" strike="noStrike" kern="1200" cap="none" spc="-210" normalizeH="0" baseline="0" noProof="0" dirty="0">
                <a:ln>
                  <a:noFill/>
                </a:ln>
                <a:solidFill>
                  <a:srgbClr val="FFFFFF"/>
                </a:solidFill>
                <a:effectLst/>
                <a:uLnTx/>
                <a:uFillTx/>
                <a:latin typeface="Verdana"/>
                <a:ea typeface="+mn-ea"/>
                <a:cs typeface="Verdana"/>
              </a:rPr>
              <a:t> </a:t>
            </a:r>
            <a:r>
              <a:rPr kumimoji="0" sz="1800" b="0" i="0" u="none" strike="noStrike" kern="1200" cap="none" spc="-110" normalizeH="0" baseline="0" noProof="0" dirty="0">
                <a:ln>
                  <a:noFill/>
                </a:ln>
                <a:solidFill>
                  <a:srgbClr val="FFFFFF"/>
                </a:solidFill>
                <a:effectLst/>
                <a:uLnTx/>
                <a:uFillTx/>
                <a:latin typeface="Verdana"/>
                <a:ea typeface="+mn-ea"/>
                <a:cs typeface="Verdana"/>
              </a:rPr>
              <a:t>are</a:t>
            </a:r>
            <a:r>
              <a:rPr kumimoji="0" sz="1800" b="0" i="0" u="none" strike="noStrike" kern="1200" cap="none" spc="-185" normalizeH="0" baseline="0" noProof="0" dirty="0">
                <a:ln>
                  <a:noFill/>
                </a:ln>
                <a:solidFill>
                  <a:srgbClr val="FFFFFF"/>
                </a:solidFill>
                <a:effectLst/>
                <a:uLnTx/>
                <a:uFillTx/>
                <a:latin typeface="Verdana"/>
                <a:ea typeface="+mn-ea"/>
                <a:cs typeface="Verdana"/>
              </a:rPr>
              <a:t> </a:t>
            </a:r>
            <a:r>
              <a:rPr kumimoji="0" sz="1800" b="0" i="0" u="none" strike="noStrike" kern="1200" cap="none" spc="-40" normalizeH="0" baseline="0" noProof="0" dirty="0">
                <a:ln>
                  <a:noFill/>
                </a:ln>
                <a:solidFill>
                  <a:srgbClr val="FFFFFF"/>
                </a:solidFill>
                <a:effectLst/>
                <a:uLnTx/>
                <a:uFillTx/>
                <a:latin typeface="Verdana"/>
                <a:ea typeface="+mn-ea"/>
                <a:cs typeface="Verdana"/>
              </a:rPr>
              <a:t>one</a:t>
            </a:r>
            <a:r>
              <a:rPr kumimoji="0" sz="1800" b="0" i="0" u="none" strike="noStrike" kern="1200" cap="none" spc="-204" normalizeH="0" baseline="0" noProof="0" dirty="0">
                <a:ln>
                  <a:noFill/>
                </a:ln>
                <a:solidFill>
                  <a:srgbClr val="FFFFFF"/>
                </a:solidFill>
                <a:effectLst/>
                <a:uLnTx/>
                <a:uFillTx/>
                <a:latin typeface="Verdana"/>
                <a:ea typeface="+mn-ea"/>
                <a:cs typeface="Verdana"/>
              </a:rPr>
              <a:t> </a:t>
            </a:r>
            <a:r>
              <a:rPr kumimoji="0" sz="1800" b="0" i="0" u="none" strike="noStrike" kern="1200" cap="none" spc="-50" normalizeH="0" baseline="0" noProof="0" dirty="0">
                <a:ln>
                  <a:noFill/>
                </a:ln>
                <a:solidFill>
                  <a:srgbClr val="FFFFFF"/>
                </a:solidFill>
                <a:effectLst/>
                <a:uLnTx/>
                <a:uFillTx/>
                <a:latin typeface="Verdana"/>
                <a:ea typeface="+mn-ea"/>
                <a:cs typeface="Verdana"/>
              </a:rPr>
              <a:t>of</a:t>
            </a:r>
            <a:r>
              <a:rPr kumimoji="0" sz="1800" b="0" i="0" u="none" strike="noStrike" kern="1200" cap="none" spc="-165" normalizeH="0" baseline="0" noProof="0" dirty="0">
                <a:ln>
                  <a:noFill/>
                </a:ln>
                <a:solidFill>
                  <a:srgbClr val="FFFFFF"/>
                </a:solidFill>
                <a:effectLst/>
                <a:uLnTx/>
                <a:uFillTx/>
                <a:latin typeface="Verdana"/>
                <a:ea typeface="+mn-ea"/>
                <a:cs typeface="Verdana"/>
              </a:rPr>
              <a:t> </a:t>
            </a:r>
            <a:r>
              <a:rPr kumimoji="0" sz="1800" b="0" i="0" u="none" strike="noStrike" kern="1200" cap="none" spc="-90" normalizeH="0" baseline="0" noProof="0" dirty="0">
                <a:ln>
                  <a:noFill/>
                </a:ln>
                <a:solidFill>
                  <a:srgbClr val="FFFFFF"/>
                </a:solidFill>
                <a:effectLst/>
                <a:uLnTx/>
                <a:uFillTx/>
                <a:latin typeface="Verdana"/>
                <a:ea typeface="+mn-ea"/>
                <a:cs typeface="Verdana"/>
              </a:rPr>
              <a:t>the  </a:t>
            </a:r>
            <a:r>
              <a:rPr kumimoji="0" sz="1800" b="0" i="0" u="none" strike="noStrike" kern="1200" cap="none" spc="-80" normalizeH="0" baseline="0" noProof="0" dirty="0">
                <a:ln>
                  <a:noFill/>
                </a:ln>
                <a:solidFill>
                  <a:srgbClr val="FFFFFF"/>
                </a:solidFill>
                <a:effectLst/>
                <a:uLnTx/>
                <a:uFillTx/>
                <a:latin typeface="Verdana"/>
                <a:ea typeface="+mn-ea"/>
                <a:cs typeface="Verdana"/>
              </a:rPr>
              <a:t>best </a:t>
            </a:r>
            <a:r>
              <a:rPr kumimoji="0" sz="1800" b="0" i="0" u="none" strike="noStrike" kern="1200" cap="none" spc="-70" normalizeH="0" baseline="0" noProof="0" dirty="0">
                <a:ln>
                  <a:noFill/>
                </a:ln>
                <a:solidFill>
                  <a:srgbClr val="FFFFFF"/>
                </a:solidFill>
                <a:effectLst/>
                <a:uLnTx/>
                <a:uFillTx/>
                <a:latin typeface="Verdana"/>
                <a:ea typeface="+mn-ea"/>
                <a:cs typeface="Verdana"/>
              </a:rPr>
              <a:t>in </a:t>
            </a:r>
            <a:r>
              <a:rPr kumimoji="0" sz="1800" b="0" i="0" u="none" strike="noStrike" kern="1200" cap="none" spc="-90" normalizeH="0" baseline="0" noProof="0" dirty="0">
                <a:ln>
                  <a:noFill/>
                </a:ln>
                <a:solidFill>
                  <a:srgbClr val="FFFFFF"/>
                </a:solidFill>
                <a:effectLst/>
                <a:uLnTx/>
                <a:uFillTx/>
                <a:latin typeface="Verdana"/>
                <a:ea typeface="+mn-ea"/>
                <a:cs typeface="Verdana"/>
              </a:rPr>
              <a:t>the </a:t>
            </a:r>
            <a:r>
              <a:rPr kumimoji="0" sz="1800" b="0" i="0" u="none" strike="noStrike" kern="1200" cap="none" spc="-55" normalizeH="0" baseline="0" noProof="0" dirty="0">
                <a:ln>
                  <a:noFill/>
                </a:ln>
                <a:solidFill>
                  <a:srgbClr val="FFFFFF"/>
                </a:solidFill>
                <a:effectLst/>
                <a:uLnTx/>
                <a:uFillTx/>
                <a:latin typeface="Verdana"/>
                <a:ea typeface="+mn-ea"/>
                <a:cs typeface="Verdana"/>
              </a:rPr>
              <a:t>world </a:t>
            </a:r>
            <a:r>
              <a:rPr kumimoji="0" sz="1800" b="0" i="0" u="none" strike="noStrike" kern="1200" cap="none" spc="-75" normalizeH="0" baseline="0" noProof="0" dirty="0">
                <a:ln>
                  <a:noFill/>
                </a:ln>
                <a:solidFill>
                  <a:srgbClr val="FFFFFF"/>
                </a:solidFill>
                <a:effectLst/>
                <a:uLnTx/>
                <a:uFillTx/>
                <a:latin typeface="Verdana"/>
                <a:ea typeface="+mn-ea"/>
                <a:cs typeface="Verdana"/>
              </a:rPr>
              <a:t>for  scientific </a:t>
            </a:r>
            <a:r>
              <a:rPr kumimoji="0" sz="1800" b="0" i="0" u="none" strike="noStrike" kern="1200" cap="none" spc="-60" normalizeH="0" baseline="0" noProof="0" dirty="0">
                <a:ln>
                  <a:noFill/>
                </a:ln>
                <a:solidFill>
                  <a:srgbClr val="FFFFFF"/>
                </a:solidFill>
                <a:effectLst/>
                <a:uLnTx/>
                <a:uFillTx/>
                <a:latin typeface="Verdana"/>
                <a:ea typeface="+mn-ea"/>
                <a:cs typeface="Verdana"/>
              </a:rPr>
              <a:t>publications </a:t>
            </a:r>
            <a:r>
              <a:rPr kumimoji="0" sz="1800" b="0" i="0" u="none" strike="noStrike" kern="1200" cap="none" spc="-45" normalizeH="0" baseline="0" noProof="0" dirty="0">
                <a:ln>
                  <a:noFill/>
                </a:ln>
                <a:solidFill>
                  <a:srgbClr val="FFFFFF"/>
                </a:solidFill>
                <a:effectLst/>
                <a:uLnTx/>
                <a:uFillTx/>
                <a:latin typeface="Verdana"/>
                <a:ea typeface="+mn-ea"/>
                <a:cs typeface="Verdana"/>
              </a:rPr>
              <a:t>&amp;  </a:t>
            </a:r>
            <a:r>
              <a:rPr kumimoji="0" sz="1800" b="0" i="0" u="none" strike="noStrike" kern="1200" cap="none" spc="-95" normalizeH="0" baseline="0" noProof="0" dirty="0">
                <a:ln>
                  <a:noFill/>
                </a:ln>
                <a:solidFill>
                  <a:srgbClr val="FFFFFF"/>
                </a:solidFill>
                <a:effectLst/>
                <a:uLnTx/>
                <a:uFillTx/>
                <a:latin typeface="Verdana"/>
                <a:ea typeface="+mn-ea"/>
                <a:cs typeface="Verdana"/>
              </a:rPr>
              <a:t>citations, </a:t>
            </a:r>
            <a:r>
              <a:rPr kumimoji="0" sz="1800" b="0" i="0" u="none" strike="noStrike" kern="1200" cap="none" spc="-85" normalizeH="0" baseline="0" noProof="0" dirty="0">
                <a:ln>
                  <a:noFill/>
                </a:ln>
                <a:solidFill>
                  <a:srgbClr val="FFFFFF"/>
                </a:solidFill>
                <a:effectLst/>
                <a:uLnTx/>
                <a:uFillTx/>
                <a:latin typeface="Verdana"/>
                <a:ea typeface="+mn-ea"/>
                <a:cs typeface="Verdana"/>
              </a:rPr>
              <a:t>can </a:t>
            </a:r>
            <a:r>
              <a:rPr kumimoji="0" sz="1800" b="0" i="0" u="none" strike="noStrike" kern="1200" cap="none" spc="-90" normalizeH="0" baseline="0" noProof="0" dirty="0">
                <a:ln>
                  <a:noFill/>
                </a:ln>
                <a:solidFill>
                  <a:srgbClr val="FFFFFF"/>
                </a:solidFill>
                <a:effectLst/>
                <a:uLnTx/>
                <a:uFillTx/>
                <a:latin typeface="Verdana"/>
                <a:ea typeface="+mn-ea"/>
                <a:cs typeface="Verdana"/>
              </a:rPr>
              <a:t>we </a:t>
            </a:r>
            <a:r>
              <a:rPr kumimoji="0" sz="1800" b="0" i="0" u="none" strike="noStrike" kern="1200" cap="none" spc="-80" normalizeH="0" baseline="0" noProof="0" dirty="0">
                <a:ln>
                  <a:noFill/>
                </a:ln>
                <a:solidFill>
                  <a:srgbClr val="FFFFFF"/>
                </a:solidFill>
                <a:effectLst/>
                <a:uLnTx/>
                <a:uFillTx/>
                <a:latin typeface="Verdana"/>
                <a:ea typeface="+mn-ea"/>
                <a:cs typeface="Verdana"/>
              </a:rPr>
              <a:t>evolve  </a:t>
            </a:r>
            <a:r>
              <a:rPr kumimoji="0" sz="1800" b="0" i="0" u="none" strike="noStrike" kern="1200" cap="none" spc="-45" normalizeH="0" baseline="0" noProof="0" dirty="0">
                <a:ln>
                  <a:noFill/>
                </a:ln>
                <a:solidFill>
                  <a:srgbClr val="FFFFFF"/>
                </a:solidFill>
                <a:effectLst/>
                <a:uLnTx/>
                <a:uFillTx/>
                <a:latin typeface="Verdana"/>
                <a:ea typeface="+mn-ea"/>
                <a:cs typeface="Verdana"/>
              </a:rPr>
              <a:t>beyond </a:t>
            </a:r>
            <a:r>
              <a:rPr kumimoji="0" sz="1800" b="0" i="0" u="none" strike="noStrike" kern="1200" cap="none" spc="-75" normalizeH="0" baseline="0" noProof="0" dirty="0">
                <a:ln>
                  <a:noFill/>
                </a:ln>
                <a:solidFill>
                  <a:srgbClr val="FFFFFF"/>
                </a:solidFill>
                <a:effectLst/>
                <a:uLnTx/>
                <a:uFillTx/>
                <a:latin typeface="Verdana"/>
                <a:ea typeface="+mn-ea"/>
                <a:cs typeface="Verdana"/>
              </a:rPr>
              <a:t>scientific  performance indicators  </a:t>
            </a:r>
            <a:r>
              <a:rPr kumimoji="0" sz="1800" b="0" i="0" u="none" strike="noStrike" kern="1200" cap="none" spc="-70" normalizeH="0" baseline="0" noProof="0" dirty="0">
                <a:ln>
                  <a:noFill/>
                </a:ln>
                <a:solidFill>
                  <a:srgbClr val="FFFFFF"/>
                </a:solidFill>
                <a:effectLst/>
                <a:uLnTx/>
                <a:uFillTx/>
                <a:latin typeface="Verdana"/>
                <a:ea typeface="+mn-ea"/>
                <a:cs typeface="Verdana"/>
              </a:rPr>
              <a:t>to </a:t>
            </a:r>
            <a:r>
              <a:rPr kumimoji="0" sz="1800" b="0" i="0" u="none" strike="noStrike" kern="1200" cap="none" spc="-90" normalizeH="0" baseline="0" noProof="0" dirty="0">
                <a:ln>
                  <a:noFill/>
                </a:ln>
                <a:solidFill>
                  <a:srgbClr val="FFFFFF"/>
                </a:solidFill>
                <a:effectLst/>
                <a:uLnTx/>
                <a:uFillTx/>
                <a:latin typeface="Verdana"/>
                <a:ea typeface="+mn-ea"/>
                <a:cs typeface="Verdana"/>
              </a:rPr>
              <a:t>innovation/impact  </a:t>
            </a:r>
            <a:r>
              <a:rPr kumimoji="0" sz="1800" b="0" i="0" u="none" strike="noStrike" kern="1200" cap="none" spc="-80" normalizeH="0" baseline="0" noProof="0" dirty="0">
                <a:ln>
                  <a:noFill/>
                </a:ln>
                <a:solidFill>
                  <a:srgbClr val="FFFFFF"/>
                </a:solidFill>
                <a:effectLst/>
                <a:uLnTx/>
                <a:uFillTx/>
                <a:latin typeface="Verdana"/>
                <a:ea typeface="+mn-ea"/>
                <a:cs typeface="Verdana"/>
              </a:rPr>
              <a:t>indicators?</a:t>
            </a:r>
            <a:endParaRPr kumimoji="0" sz="18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66344" y="932688"/>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txBox="1"/>
          <p:nvPr/>
        </p:nvSpPr>
        <p:spPr>
          <a:xfrm>
            <a:off x="659079" y="1349502"/>
            <a:ext cx="6180455" cy="3592829"/>
          </a:xfrm>
          <a:prstGeom prst="rect">
            <a:avLst/>
          </a:prstGeom>
        </p:spPr>
        <p:txBody>
          <a:bodyPr vert="horz" wrap="square" lIns="0" tIns="12700" rIns="0" bIns="0" rtlCol="0">
            <a:spAutoFit/>
          </a:bodyPr>
          <a:lstStyle/>
          <a:p>
            <a:pPr marL="283845" marR="0" lvl="0" indent="-271780" algn="l" defTabSz="914400" rtl="0" eaLnBrk="1" fontAlgn="auto" latinLnBrk="0" hangingPunct="1">
              <a:lnSpc>
                <a:spcPct val="100000"/>
              </a:lnSpc>
              <a:spcBef>
                <a:spcPts val="100"/>
              </a:spcBef>
              <a:spcAft>
                <a:spcPts val="0"/>
              </a:spcAft>
              <a:buClrTx/>
              <a:buSzTx/>
              <a:buFont typeface="Arial"/>
              <a:buChar char="•"/>
              <a:tabLst>
                <a:tab pos="283845" algn="l"/>
                <a:tab pos="284480" algn="l"/>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15" normalizeH="0" baseline="0" noProof="0" dirty="0">
                <a:ln>
                  <a:noFill/>
                </a:ln>
                <a:solidFill>
                  <a:srgbClr val="FFFFFF"/>
                </a:solidFill>
                <a:effectLst/>
                <a:uLnTx/>
                <a:uFillTx/>
                <a:latin typeface="Verdana"/>
                <a:ea typeface="+mn-ea"/>
                <a:cs typeface="Verdana"/>
              </a:rPr>
              <a:t>publicly-funded </a:t>
            </a:r>
            <a:r>
              <a:rPr kumimoji="0" sz="1800" b="0" i="0" u="none" strike="noStrike" kern="1200" cap="none" spc="-40" normalizeH="0" baseline="0" noProof="0" dirty="0">
                <a:ln>
                  <a:noFill/>
                </a:ln>
                <a:solidFill>
                  <a:srgbClr val="FFFFFF"/>
                </a:solidFill>
                <a:effectLst/>
                <a:uLnTx/>
                <a:uFillTx/>
                <a:latin typeface="Verdana"/>
                <a:ea typeface="+mn-ea"/>
                <a:cs typeface="Verdana"/>
              </a:rPr>
              <a:t>projects </a:t>
            </a:r>
            <a:r>
              <a:rPr kumimoji="0" sz="1800" b="0" i="0" u="none" strike="noStrike" kern="1200" cap="none" spc="-60" normalizeH="0" baseline="0" noProof="0" dirty="0">
                <a:ln>
                  <a:noFill/>
                </a:ln>
                <a:solidFill>
                  <a:srgbClr val="FFFFFF"/>
                </a:solidFill>
                <a:effectLst/>
                <a:uLnTx/>
                <a:uFillTx/>
                <a:latin typeface="Verdana"/>
                <a:ea typeface="+mn-ea"/>
                <a:cs typeface="Verdana"/>
              </a:rPr>
              <a:t>translated </a:t>
            </a:r>
            <a:r>
              <a:rPr kumimoji="0" sz="1800" b="0" i="0" u="none" strike="noStrike" kern="1200" cap="none" spc="-45" normalizeH="0" baseline="0" noProof="0" dirty="0">
                <a:ln>
                  <a:noFill/>
                </a:ln>
                <a:solidFill>
                  <a:srgbClr val="FFFFFF"/>
                </a:solidFill>
                <a:effectLst/>
                <a:uLnTx/>
                <a:uFillTx/>
                <a:latin typeface="Verdana"/>
                <a:ea typeface="+mn-ea"/>
                <a:cs typeface="Verdana"/>
              </a:rPr>
              <a:t>to</a:t>
            </a:r>
            <a:r>
              <a:rPr kumimoji="0" sz="1800" b="0" i="0" u="none" strike="noStrike" kern="1200" cap="none" spc="-425" normalizeH="0" baseline="0" noProof="0" dirty="0">
                <a:ln>
                  <a:noFill/>
                </a:ln>
                <a:solidFill>
                  <a:srgbClr val="FFFFFF"/>
                </a:solidFill>
                <a:effectLst/>
                <a:uLnTx/>
                <a:uFillTx/>
                <a:latin typeface="Verdana"/>
                <a:ea typeface="+mn-ea"/>
                <a:cs typeface="Verdana"/>
              </a:rPr>
              <a:t> </a:t>
            </a:r>
            <a:r>
              <a:rPr kumimoji="0" sz="1800" b="0" i="0" u="none" strike="noStrike" kern="1200" cap="none" spc="30" normalizeH="0" baseline="0" noProof="0" dirty="0">
                <a:ln>
                  <a:noFill/>
                </a:ln>
                <a:solidFill>
                  <a:srgbClr val="FFFFFF"/>
                </a:solidFill>
                <a:effectLst/>
                <a:uLnTx/>
                <a:uFillTx/>
                <a:latin typeface="Verdana"/>
                <a:ea typeface="+mn-ea"/>
                <a:cs typeface="Verdana"/>
              </a:rPr>
              <a:t>POCs</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60"/>
              </a:spcBef>
              <a:spcAft>
                <a:spcPts val="0"/>
              </a:spcAft>
              <a:buClrTx/>
              <a:buSzTx/>
              <a:buFont typeface="Arial"/>
              <a:buChar char="•"/>
              <a:tabLst>
                <a:tab pos="283845" algn="l"/>
                <a:tab pos="284480" algn="l"/>
              </a:tabLst>
              <a:defRPr/>
            </a:pPr>
            <a:r>
              <a:rPr kumimoji="0" sz="1800" b="0" i="0" u="none" strike="noStrike" kern="1200" cap="none" spc="-30"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30" normalizeH="0" baseline="0" noProof="0" dirty="0">
                <a:ln>
                  <a:noFill/>
                </a:ln>
                <a:solidFill>
                  <a:srgbClr val="FFFFFF"/>
                </a:solidFill>
                <a:effectLst/>
                <a:uLnTx/>
                <a:uFillTx/>
                <a:latin typeface="Verdana"/>
                <a:ea typeface="+mn-ea"/>
                <a:cs typeface="Verdana"/>
              </a:rPr>
              <a:t>Technology</a:t>
            </a:r>
            <a:r>
              <a:rPr kumimoji="0" sz="1800" b="0" i="0" u="none" strike="noStrike" kern="1200" cap="none" spc="-320" normalizeH="0" baseline="0" noProof="0" dirty="0">
                <a:ln>
                  <a:noFill/>
                </a:ln>
                <a:solidFill>
                  <a:srgbClr val="FFFFFF"/>
                </a:solidFill>
                <a:effectLst/>
                <a:uLnTx/>
                <a:uFillTx/>
                <a:latin typeface="Verdana"/>
                <a:ea typeface="+mn-ea"/>
                <a:cs typeface="Verdana"/>
              </a:rPr>
              <a:t> </a:t>
            </a:r>
            <a:r>
              <a:rPr kumimoji="0" sz="1800" b="0" i="0" u="none" strike="noStrike" kern="1200" cap="none" spc="-35" normalizeH="0" baseline="0" noProof="0" dirty="0">
                <a:ln>
                  <a:noFill/>
                </a:ln>
                <a:solidFill>
                  <a:srgbClr val="FFFFFF"/>
                </a:solidFill>
                <a:effectLst/>
                <a:uLnTx/>
                <a:uFillTx/>
                <a:latin typeface="Verdana"/>
                <a:ea typeface="+mn-ea"/>
                <a:cs typeface="Verdana"/>
              </a:rPr>
              <a:t>Disclosures</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35"/>
              </a:spcBef>
              <a:spcAft>
                <a:spcPts val="0"/>
              </a:spcAft>
              <a:buClrTx/>
              <a:buSzTx/>
              <a:buFont typeface="Arial"/>
              <a:buChar char="•"/>
              <a:tabLst>
                <a:tab pos="283845" algn="l"/>
                <a:tab pos="284480" algn="l"/>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80" normalizeH="0" baseline="0" noProof="0" dirty="0">
                <a:ln>
                  <a:noFill/>
                </a:ln>
                <a:solidFill>
                  <a:srgbClr val="FFFFFF"/>
                </a:solidFill>
                <a:effectLst/>
                <a:uLnTx/>
                <a:uFillTx/>
                <a:latin typeface="Verdana"/>
                <a:ea typeface="+mn-ea"/>
                <a:cs typeface="Verdana"/>
              </a:rPr>
              <a:t>Patents</a:t>
            </a:r>
            <a:r>
              <a:rPr kumimoji="0" sz="1800" b="0" i="0" u="none" strike="noStrike" kern="1200" cap="none" spc="-200" normalizeH="0" baseline="0" noProof="0" dirty="0">
                <a:ln>
                  <a:noFill/>
                </a:ln>
                <a:solidFill>
                  <a:srgbClr val="FFFFFF"/>
                </a:solidFill>
                <a:effectLst/>
                <a:uLnTx/>
                <a:uFillTx/>
                <a:latin typeface="Verdana"/>
                <a:ea typeface="+mn-ea"/>
                <a:cs typeface="Verdana"/>
              </a:rPr>
              <a:t> </a:t>
            </a:r>
            <a:r>
              <a:rPr kumimoji="0" sz="1800" b="0" i="0" u="none" strike="noStrike" kern="1200" cap="none" spc="-5" normalizeH="0" baseline="0" noProof="0" dirty="0">
                <a:ln>
                  <a:noFill/>
                </a:ln>
                <a:solidFill>
                  <a:srgbClr val="FFFFFF"/>
                </a:solidFill>
                <a:effectLst/>
                <a:uLnTx/>
                <a:uFillTx/>
                <a:latin typeface="Verdana"/>
                <a:ea typeface="+mn-ea"/>
                <a:cs typeface="Verdana"/>
              </a:rPr>
              <a:t>filed</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40"/>
              </a:spcBef>
              <a:spcAft>
                <a:spcPts val="0"/>
              </a:spcAft>
              <a:buClrTx/>
              <a:buSzTx/>
              <a:buFont typeface="Arial"/>
              <a:buChar char="•"/>
              <a:tabLst>
                <a:tab pos="283845" algn="l"/>
                <a:tab pos="284480" algn="l"/>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a:t>
            </a:r>
            <a:r>
              <a:rPr kumimoji="0" sz="1800" b="0" i="0" u="none" strike="noStrike" kern="1200" cap="none" spc="-155" normalizeH="0" baseline="0" noProof="0" dirty="0">
                <a:ln>
                  <a:noFill/>
                </a:ln>
                <a:solidFill>
                  <a:srgbClr val="FFFFFF"/>
                </a:solidFill>
                <a:effectLst/>
                <a:uLnTx/>
                <a:uFillTx/>
                <a:latin typeface="Verdana"/>
                <a:ea typeface="+mn-ea"/>
                <a:cs typeface="Verdana"/>
              </a:rPr>
              <a:t> </a:t>
            </a:r>
            <a:r>
              <a:rPr kumimoji="0" sz="1800" b="0" i="0" u="none" strike="noStrike" kern="1200" cap="none" spc="-45" normalizeH="0" baseline="0" noProof="0" dirty="0">
                <a:ln>
                  <a:noFill/>
                </a:ln>
                <a:solidFill>
                  <a:srgbClr val="FFFFFF"/>
                </a:solidFill>
                <a:effectLst/>
                <a:uLnTx/>
                <a:uFillTx/>
                <a:latin typeface="Verdana"/>
                <a:ea typeface="+mn-ea"/>
                <a:cs typeface="Verdana"/>
              </a:rPr>
              <a:t>Licenses/Assignments</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35"/>
              </a:spcBef>
              <a:spcAft>
                <a:spcPts val="0"/>
              </a:spcAft>
              <a:buClrTx/>
              <a:buSzTx/>
              <a:buFont typeface="Arial"/>
              <a:buChar char="•"/>
              <a:tabLst>
                <a:tab pos="283845" algn="l"/>
                <a:tab pos="284480" algn="l"/>
              </a:tabLst>
              <a:defRPr/>
            </a:pPr>
            <a:r>
              <a:rPr kumimoji="0" sz="1800" b="0" i="0" u="none" strike="noStrike" kern="1200" cap="none" spc="-30"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95" normalizeH="0" baseline="0" noProof="0" dirty="0">
                <a:ln>
                  <a:noFill/>
                </a:ln>
                <a:solidFill>
                  <a:srgbClr val="FFFFFF"/>
                </a:solidFill>
                <a:effectLst/>
                <a:uLnTx/>
                <a:uFillTx/>
                <a:latin typeface="Verdana"/>
                <a:ea typeface="+mn-ea"/>
                <a:cs typeface="Verdana"/>
              </a:rPr>
              <a:t>Patents/IP</a:t>
            </a:r>
            <a:r>
              <a:rPr kumimoji="0" sz="1800" b="0" i="0" u="none" strike="noStrike" kern="1200" cap="none" spc="-210" normalizeH="0" baseline="0" noProof="0" dirty="0">
                <a:ln>
                  <a:noFill/>
                </a:ln>
                <a:solidFill>
                  <a:srgbClr val="FFFFFF"/>
                </a:solidFill>
                <a:effectLst/>
                <a:uLnTx/>
                <a:uFillTx/>
                <a:latin typeface="Verdana"/>
                <a:ea typeface="+mn-ea"/>
                <a:cs typeface="Verdana"/>
              </a:rPr>
              <a:t> </a:t>
            </a:r>
            <a:r>
              <a:rPr kumimoji="0" sz="1800" b="0" i="0" u="none" strike="noStrike" kern="1200" cap="none" spc="-30" normalizeH="0" baseline="0" noProof="0" dirty="0">
                <a:ln>
                  <a:noFill/>
                </a:ln>
                <a:solidFill>
                  <a:srgbClr val="FFFFFF"/>
                </a:solidFill>
                <a:effectLst/>
                <a:uLnTx/>
                <a:uFillTx/>
                <a:latin typeface="Verdana"/>
                <a:ea typeface="+mn-ea"/>
                <a:cs typeface="Verdana"/>
              </a:rPr>
              <a:t>commercialised</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40"/>
              </a:spcBef>
              <a:spcAft>
                <a:spcPts val="0"/>
              </a:spcAft>
              <a:buClrTx/>
              <a:buSzTx/>
              <a:buFont typeface="Arial"/>
              <a:buChar char="•"/>
              <a:tabLst>
                <a:tab pos="283845" algn="l"/>
                <a:tab pos="284480" algn="l"/>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a:t>
            </a:r>
            <a:r>
              <a:rPr kumimoji="0" sz="1800" b="0" i="0" u="none" strike="noStrike" kern="1200" cap="none" spc="-155" normalizeH="0" baseline="0" noProof="0" dirty="0">
                <a:ln>
                  <a:noFill/>
                </a:ln>
                <a:solidFill>
                  <a:srgbClr val="FFFFFF"/>
                </a:solidFill>
                <a:effectLst/>
                <a:uLnTx/>
                <a:uFillTx/>
                <a:latin typeface="Verdana"/>
                <a:ea typeface="+mn-ea"/>
                <a:cs typeface="Verdana"/>
              </a:rPr>
              <a:t> </a:t>
            </a:r>
            <a:r>
              <a:rPr kumimoji="0" sz="1800" b="0" i="0" u="none" strike="noStrike" kern="1200" cap="none" spc="-65" normalizeH="0" baseline="0" noProof="0" dirty="0">
                <a:ln>
                  <a:noFill/>
                </a:ln>
                <a:solidFill>
                  <a:srgbClr val="FFFFFF"/>
                </a:solidFill>
                <a:effectLst/>
                <a:uLnTx/>
                <a:uFillTx/>
                <a:latin typeface="Verdana"/>
                <a:ea typeface="+mn-ea"/>
                <a:cs typeface="Verdana"/>
              </a:rPr>
              <a:t>spin-offs/startups</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35"/>
              </a:spcBef>
              <a:spcAft>
                <a:spcPts val="0"/>
              </a:spcAft>
              <a:buClrTx/>
              <a:buSzTx/>
              <a:buFont typeface="Arial"/>
              <a:buChar char="•"/>
              <a:tabLst>
                <a:tab pos="283845" algn="l"/>
                <a:tab pos="284480" algn="l"/>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50" normalizeH="0" baseline="0" noProof="0" dirty="0">
                <a:ln>
                  <a:noFill/>
                </a:ln>
                <a:solidFill>
                  <a:srgbClr val="FFFFFF"/>
                </a:solidFill>
                <a:effectLst/>
                <a:uLnTx/>
                <a:uFillTx/>
                <a:latin typeface="Verdana"/>
                <a:ea typeface="+mn-ea"/>
                <a:cs typeface="Verdana"/>
              </a:rPr>
              <a:t>successful </a:t>
            </a:r>
            <a:r>
              <a:rPr kumimoji="0" sz="1800" b="0" i="0" u="none" strike="noStrike" kern="1200" cap="none" spc="-60" normalizeH="0" baseline="0" noProof="0" dirty="0">
                <a:ln>
                  <a:noFill/>
                </a:ln>
                <a:solidFill>
                  <a:srgbClr val="FFFFFF"/>
                </a:solidFill>
                <a:effectLst/>
                <a:uLnTx/>
                <a:uFillTx/>
                <a:latin typeface="Verdana"/>
                <a:ea typeface="+mn-ea"/>
                <a:cs typeface="Verdana"/>
              </a:rPr>
              <a:t>spin-offs/startups </a:t>
            </a:r>
            <a:r>
              <a:rPr kumimoji="0" sz="1800" b="0" i="0" u="none" strike="noStrike" kern="1200" cap="none" spc="-85" normalizeH="0" baseline="0" noProof="0" dirty="0">
                <a:ln>
                  <a:noFill/>
                </a:ln>
                <a:solidFill>
                  <a:srgbClr val="FFFFFF"/>
                </a:solidFill>
                <a:effectLst/>
                <a:uLnTx/>
                <a:uFillTx/>
                <a:latin typeface="Verdana"/>
                <a:ea typeface="+mn-ea"/>
                <a:cs typeface="Verdana"/>
              </a:rPr>
              <a:t>(various</a:t>
            </a:r>
            <a:r>
              <a:rPr kumimoji="0" sz="1800" b="0" i="0" u="none" strike="noStrike" kern="1200" cap="none" spc="-290" normalizeH="0" baseline="0" noProof="0" dirty="0">
                <a:ln>
                  <a:noFill/>
                </a:ln>
                <a:solidFill>
                  <a:srgbClr val="FFFFFF"/>
                </a:solidFill>
                <a:effectLst/>
                <a:uLnTx/>
                <a:uFillTx/>
                <a:latin typeface="Verdana"/>
                <a:ea typeface="+mn-ea"/>
                <a:cs typeface="Verdana"/>
              </a:rPr>
              <a:t> </a:t>
            </a:r>
            <a:r>
              <a:rPr kumimoji="0" sz="1800" b="0" i="0" u="none" strike="noStrike" kern="1200" cap="none" spc="-145" normalizeH="0" baseline="0" noProof="0" dirty="0">
                <a:ln>
                  <a:noFill/>
                </a:ln>
                <a:solidFill>
                  <a:srgbClr val="FFFFFF"/>
                </a:solidFill>
                <a:effectLst/>
                <a:uLnTx/>
                <a:uFillTx/>
                <a:latin typeface="Verdana"/>
                <a:ea typeface="+mn-ea"/>
                <a:cs typeface="Verdana"/>
              </a:rPr>
              <a:t>KPIs)</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60"/>
              </a:spcBef>
              <a:spcAft>
                <a:spcPts val="0"/>
              </a:spcAft>
              <a:buClrTx/>
              <a:buSzTx/>
              <a:buFont typeface="Arial"/>
              <a:buChar char="•"/>
              <a:tabLst>
                <a:tab pos="283845" algn="l"/>
                <a:tab pos="284480" algn="l"/>
              </a:tabLst>
              <a:defRPr/>
            </a:pPr>
            <a:r>
              <a:rPr kumimoji="0" sz="1800" b="0" i="0" u="none" strike="noStrike" kern="1200" cap="none" spc="-30"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65" normalizeH="0" baseline="0" noProof="0" dirty="0">
                <a:ln>
                  <a:noFill/>
                </a:ln>
                <a:solidFill>
                  <a:srgbClr val="FFFFFF"/>
                </a:solidFill>
                <a:effectLst/>
                <a:uLnTx/>
                <a:uFillTx/>
                <a:latin typeface="Verdana"/>
                <a:ea typeface="+mn-ea"/>
                <a:cs typeface="Verdana"/>
              </a:rPr>
              <a:t>spin-offs/startups </a:t>
            </a:r>
            <a:r>
              <a:rPr kumimoji="0" sz="1800" b="0" i="0" u="none" strike="noStrike" kern="1200" cap="none" spc="-95" normalizeH="0" baseline="0" noProof="0" dirty="0">
                <a:ln>
                  <a:noFill/>
                </a:ln>
                <a:solidFill>
                  <a:srgbClr val="FFFFFF"/>
                </a:solidFill>
                <a:effectLst/>
                <a:uLnTx/>
                <a:uFillTx/>
                <a:latin typeface="Verdana"/>
                <a:ea typeface="+mn-ea"/>
                <a:cs typeface="Verdana"/>
              </a:rPr>
              <a:t>that </a:t>
            </a:r>
            <a:r>
              <a:rPr kumimoji="0" sz="1800" b="0" i="0" u="none" strike="noStrike" kern="1200" cap="none" spc="-45" normalizeH="0" baseline="0" noProof="0" dirty="0">
                <a:ln>
                  <a:noFill/>
                </a:ln>
                <a:solidFill>
                  <a:srgbClr val="FFFFFF"/>
                </a:solidFill>
                <a:effectLst/>
                <a:uLnTx/>
                <a:uFillTx/>
                <a:latin typeface="Verdana"/>
                <a:ea typeface="+mn-ea"/>
                <a:cs typeface="Verdana"/>
              </a:rPr>
              <a:t>raised </a:t>
            </a:r>
            <a:r>
              <a:rPr kumimoji="0" sz="1800" b="0" i="0" u="none" strike="noStrike" kern="1200" cap="none" spc="-30" normalizeH="0" baseline="0" noProof="0" dirty="0">
                <a:ln>
                  <a:noFill/>
                </a:ln>
                <a:solidFill>
                  <a:srgbClr val="FFFFFF"/>
                </a:solidFill>
                <a:effectLst/>
                <a:uLnTx/>
                <a:uFillTx/>
                <a:latin typeface="Verdana"/>
                <a:ea typeface="+mn-ea"/>
                <a:cs typeface="Verdana"/>
              </a:rPr>
              <a:t>follow-on</a:t>
            </a:r>
            <a:r>
              <a:rPr kumimoji="0" sz="1800" b="0" i="0" u="none" strike="noStrike" kern="1200" cap="none" spc="-170" normalizeH="0" baseline="0" noProof="0" dirty="0">
                <a:ln>
                  <a:noFill/>
                </a:ln>
                <a:solidFill>
                  <a:srgbClr val="FFFFFF"/>
                </a:solidFill>
                <a:effectLst/>
                <a:uLnTx/>
                <a:uFillTx/>
                <a:latin typeface="Verdana"/>
                <a:ea typeface="+mn-ea"/>
                <a:cs typeface="Verdana"/>
              </a:rPr>
              <a:t> </a:t>
            </a:r>
            <a:r>
              <a:rPr kumimoji="0" sz="1800" b="0" i="0" u="none" strike="noStrike" kern="1200" cap="none" spc="-15" normalizeH="0" baseline="0" noProof="0" dirty="0">
                <a:ln>
                  <a:noFill/>
                </a:ln>
                <a:solidFill>
                  <a:srgbClr val="FFFFFF"/>
                </a:solidFill>
                <a:effectLst/>
                <a:uLnTx/>
                <a:uFillTx/>
                <a:latin typeface="Verdana"/>
                <a:ea typeface="+mn-ea"/>
                <a:cs typeface="Verdana"/>
              </a:rPr>
              <a:t>funding</a:t>
            </a:r>
            <a:endParaRPr kumimoji="0" sz="18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196392" y="6521456"/>
            <a:ext cx="3338195" cy="240029"/>
          </a:xfrm>
          <a:prstGeom prst="rect">
            <a:avLst/>
          </a:prstGeom>
        </p:spPr>
        <p:txBody>
          <a:bodyPr vert="horz" wrap="square" lIns="0" tIns="5080" rIns="0" bIns="0" rtlCol="0">
            <a:spAutoFit/>
          </a:bodyPr>
          <a:lstStyle/>
          <a:p>
            <a:pPr marL="12700" marR="0" lvl="0" indent="0" algn="l" defTabSz="914400" rtl="0" eaLnBrk="1" fontAlgn="auto" latinLnBrk="0" hangingPunct="1">
              <a:lnSpc>
                <a:spcPct val="100000"/>
              </a:lnSpc>
              <a:spcBef>
                <a:spcPts val="40"/>
              </a:spcBef>
              <a:spcAft>
                <a:spcPts val="0"/>
              </a:spcAft>
              <a:buClrTx/>
              <a:buSzTx/>
              <a:buFontTx/>
              <a:buNone/>
              <a:tabLst/>
              <a:defRPr/>
            </a:pPr>
            <a:r>
              <a:rPr kumimoji="0" sz="1400" b="0" i="0" u="none" strike="noStrike" kern="1200" cap="none" spc="-30" normalizeH="0" baseline="0" noProof="0" dirty="0">
                <a:ln>
                  <a:noFill/>
                </a:ln>
                <a:solidFill>
                  <a:srgbClr val="FFFFFF"/>
                </a:solidFill>
                <a:effectLst/>
                <a:uLnTx/>
                <a:uFillTx/>
                <a:latin typeface="Verdana"/>
                <a:ea typeface="+mn-ea"/>
                <a:cs typeface="Verdana"/>
              </a:rPr>
              <a:t>Adapted </a:t>
            </a:r>
            <a:r>
              <a:rPr kumimoji="0" sz="1400" b="0" i="0" u="none" strike="noStrike" kern="1200" cap="none" spc="-114" normalizeH="0" baseline="0" noProof="0" dirty="0">
                <a:ln>
                  <a:noFill/>
                </a:ln>
                <a:solidFill>
                  <a:srgbClr val="FFFFFF"/>
                </a:solidFill>
                <a:effectLst/>
                <a:uLnTx/>
                <a:uFillTx/>
                <a:latin typeface="Verdana"/>
                <a:ea typeface="+mn-ea"/>
                <a:cs typeface="Verdana"/>
              </a:rPr>
              <a:t>from: </a:t>
            </a:r>
            <a:r>
              <a:rPr kumimoji="0" sz="1400" b="0" i="0" u="none" strike="noStrike" kern="1200" cap="none" spc="-60" normalizeH="0" baseline="0" noProof="0" dirty="0">
                <a:ln>
                  <a:noFill/>
                </a:ln>
                <a:solidFill>
                  <a:srgbClr val="FFFFFF"/>
                </a:solidFill>
                <a:effectLst/>
                <a:uLnTx/>
                <a:uFillTx/>
                <a:latin typeface="Verdana"/>
                <a:ea typeface="+mn-ea"/>
                <a:cs typeface="Verdana"/>
              </a:rPr>
              <a:t>Singapore </a:t>
            </a:r>
            <a:r>
              <a:rPr kumimoji="0" sz="1400" b="0" i="0" u="none" strike="noStrike" kern="1200" cap="none" spc="-75" normalizeH="0" baseline="0" noProof="0" dirty="0">
                <a:ln>
                  <a:noFill/>
                </a:ln>
                <a:solidFill>
                  <a:srgbClr val="FFFFFF"/>
                </a:solidFill>
                <a:effectLst/>
                <a:uLnTx/>
                <a:uFillTx/>
                <a:latin typeface="Verdana"/>
                <a:ea typeface="+mn-ea"/>
                <a:cs typeface="Verdana"/>
              </a:rPr>
              <a:t>Govt</a:t>
            </a:r>
            <a:r>
              <a:rPr kumimoji="0" sz="1400" b="0" i="0" u="none" strike="noStrike" kern="1200" cap="none" spc="-310" normalizeH="0" baseline="0" noProof="0" dirty="0">
                <a:ln>
                  <a:noFill/>
                </a:ln>
                <a:solidFill>
                  <a:srgbClr val="FFFFFF"/>
                </a:solidFill>
                <a:effectLst/>
                <a:uLnTx/>
                <a:uFillTx/>
                <a:latin typeface="Verdana"/>
                <a:ea typeface="+mn-ea"/>
                <a:cs typeface="Verdana"/>
              </a:rPr>
              <a:t> </a:t>
            </a:r>
            <a:r>
              <a:rPr kumimoji="0" sz="1400" b="0" i="0" u="none" strike="noStrike" kern="1200" cap="none" spc="-35" normalizeH="0" baseline="0" noProof="0" dirty="0">
                <a:ln>
                  <a:noFill/>
                </a:ln>
                <a:solidFill>
                  <a:srgbClr val="FFFFFF"/>
                </a:solidFill>
                <a:effectLst/>
                <a:uLnTx/>
                <a:uFillTx/>
                <a:latin typeface="Verdana"/>
                <a:ea typeface="+mn-ea"/>
                <a:cs typeface="Verdana"/>
              </a:rPr>
              <a:t>Agencies</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txBox="1"/>
          <p:nvPr/>
        </p:nvSpPr>
        <p:spPr>
          <a:xfrm>
            <a:off x="10733023" y="6551337"/>
            <a:ext cx="1327150" cy="210820"/>
          </a:xfrm>
          <a:prstGeom prst="rect">
            <a:avLst/>
          </a:prstGeom>
        </p:spPr>
        <p:txBody>
          <a:bodyPr vert="horz" wrap="square" lIns="0" tIns="6985" rIns="0" bIns="0" rtlCol="0">
            <a:spAutoFit/>
          </a:bodyPr>
          <a:lstStyle/>
          <a:p>
            <a:pPr marL="12700" marR="0" lvl="0" indent="0" algn="l" defTabSz="914400" rtl="0" eaLnBrk="1" fontAlgn="auto" latinLnBrk="0" hangingPunct="1">
              <a:lnSpc>
                <a:spcPct val="100000"/>
              </a:lnSpc>
              <a:spcBef>
                <a:spcPts val="55"/>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
        <p:nvSpPr>
          <p:cNvPr id="4" name="object 4"/>
          <p:cNvSpPr txBox="1">
            <a:spLocks noGrp="1"/>
          </p:cNvSpPr>
          <p:nvPr>
            <p:ph type="title"/>
          </p:nvPr>
        </p:nvSpPr>
        <p:spPr>
          <a:xfrm>
            <a:off x="546303" y="239014"/>
            <a:ext cx="9807575" cy="574040"/>
          </a:xfrm>
          <a:prstGeom prst="rect">
            <a:avLst/>
          </a:prstGeom>
        </p:spPr>
        <p:txBody>
          <a:bodyPr vert="horz" wrap="square" lIns="0" tIns="12700" rIns="0" bIns="0" rtlCol="0">
            <a:spAutoFit/>
          </a:bodyPr>
          <a:lstStyle/>
          <a:p>
            <a:pPr marL="12700">
              <a:lnSpc>
                <a:spcPct val="100000"/>
              </a:lnSpc>
              <a:spcBef>
                <a:spcPts val="100"/>
              </a:spcBef>
            </a:pPr>
            <a:r>
              <a:rPr sz="3600" spc="290" dirty="0"/>
              <a:t>Consider </a:t>
            </a:r>
            <a:r>
              <a:rPr sz="3600" spc="310" dirty="0"/>
              <a:t>these </a:t>
            </a:r>
            <a:r>
              <a:rPr sz="3600" spc="185" dirty="0"/>
              <a:t>I&amp;E </a:t>
            </a:r>
            <a:r>
              <a:rPr sz="3600" spc="225" dirty="0"/>
              <a:t>Impact</a:t>
            </a:r>
            <a:r>
              <a:rPr sz="3600" spc="-495" dirty="0"/>
              <a:t> </a:t>
            </a:r>
            <a:r>
              <a:rPr sz="3600" spc="290" dirty="0"/>
              <a:t>Indicators</a:t>
            </a:r>
            <a:endParaRPr sz="36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8571F-B516-4EF7-8B29-F7BA56882322}"/>
              </a:ext>
            </a:extLst>
          </p:cNvPr>
          <p:cNvSpPr>
            <a:spLocks noGrp="1"/>
          </p:cNvSpPr>
          <p:nvPr>
            <p:ph type="title"/>
          </p:nvPr>
        </p:nvSpPr>
        <p:spPr/>
        <p:txBody>
          <a:bodyPr/>
          <a:lstStyle/>
          <a:p>
            <a:r>
              <a:rPr lang="en-GB" sz="3200" dirty="0">
                <a:solidFill>
                  <a:srgbClr val="469BC0"/>
                </a:solidFill>
              </a:rPr>
              <a:t>Developments in Impact of Science</a:t>
            </a:r>
            <a:endParaRPr lang="nl-NL" sz="3200" dirty="0">
              <a:solidFill>
                <a:srgbClr val="469BC0"/>
              </a:solidFill>
            </a:endParaRPr>
          </a:p>
        </p:txBody>
      </p:sp>
      <p:sp>
        <p:nvSpPr>
          <p:cNvPr id="3" name="Content Placeholder 2">
            <a:extLst>
              <a:ext uri="{FF2B5EF4-FFF2-40B4-BE49-F238E27FC236}">
                <a16:creationId xmlns:a16="http://schemas.microsoft.com/office/drawing/2014/main" id="{729A6140-544F-491A-A1EB-BE32B7980E80}"/>
              </a:ext>
            </a:extLst>
          </p:cNvPr>
          <p:cNvSpPr>
            <a:spLocks noGrp="1"/>
          </p:cNvSpPr>
          <p:nvPr>
            <p:ph sz="half" idx="1"/>
          </p:nvPr>
        </p:nvSpPr>
        <p:spPr>
          <a:xfrm>
            <a:off x="1274618" y="1990725"/>
            <a:ext cx="10751126" cy="4163346"/>
          </a:xfrm>
        </p:spPr>
        <p:txBody>
          <a:bodyPr/>
          <a:lstStyle/>
          <a:p>
            <a:pPr marL="0" indent="0">
              <a:buNone/>
            </a:pPr>
            <a:r>
              <a:rPr lang="en-GB" sz="2400" dirty="0"/>
              <a:t>1970s  Impact as a promise related to the project or program.</a:t>
            </a:r>
          </a:p>
          <a:p>
            <a:pPr marL="0" indent="0">
              <a:buNone/>
            </a:pPr>
            <a:r>
              <a:rPr lang="nl-NL" sz="2400" dirty="0"/>
              <a:t>1990s  Impact of </a:t>
            </a:r>
            <a:r>
              <a:rPr lang="nl-NL" sz="2400" dirty="0" err="1"/>
              <a:t>science</a:t>
            </a:r>
            <a:r>
              <a:rPr lang="nl-NL" sz="2400" dirty="0"/>
              <a:t> as policy </a:t>
            </a:r>
            <a:r>
              <a:rPr lang="nl-NL" sz="2400" dirty="0" err="1"/>
              <a:t>objective</a:t>
            </a:r>
            <a:r>
              <a:rPr lang="nl-NL" sz="2400" dirty="0"/>
              <a:t> </a:t>
            </a:r>
            <a:r>
              <a:rPr lang="nl-NL" sz="2400" dirty="0" err="1"/>
              <a:t>that</a:t>
            </a:r>
            <a:r>
              <a:rPr lang="nl-NL" sz="2400" dirty="0"/>
              <a:t> </a:t>
            </a:r>
            <a:r>
              <a:rPr lang="nl-NL" sz="2400" dirty="0" err="1"/>
              <a:t>needs</a:t>
            </a:r>
            <a:r>
              <a:rPr lang="nl-NL" sz="2400" dirty="0"/>
              <a:t> </a:t>
            </a:r>
            <a:r>
              <a:rPr lang="nl-NL" sz="2400" dirty="0" err="1"/>
              <a:t>to</a:t>
            </a:r>
            <a:r>
              <a:rPr lang="nl-NL" sz="2400" dirty="0"/>
              <a:t> </a:t>
            </a:r>
            <a:r>
              <a:rPr lang="nl-NL" sz="2400" dirty="0" err="1"/>
              <a:t>be</a:t>
            </a:r>
            <a:r>
              <a:rPr lang="nl-NL" sz="2400" dirty="0"/>
              <a:t> </a:t>
            </a:r>
            <a:r>
              <a:rPr lang="nl-NL" sz="2400" dirty="0" err="1"/>
              <a:t>evaluated</a:t>
            </a:r>
            <a:endParaRPr lang="nl-NL" sz="2400" dirty="0"/>
          </a:p>
          <a:p>
            <a:pPr lvl="1"/>
            <a:r>
              <a:rPr lang="nl-NL" sz="2000" dirty="0" err="1"/>
              <a:t>Cost</a:t>
            </a:r>
            <a:r>
              <a:rPr lang="nl-NL" sz="2000" dirty="0"/>
              <a:t>-benefit analysis of </a:t>
            </a:r>
            <a:r>
              <a:rPr lang="nl-NL" sz="2000" dirty="0" err="1"/>
              <a:t>investments</a:t>
            </a:r>
            <a:r>
              <a:rPr lang="nl-NL" sz="2000" dirty="0"/>
              <a:t> in </a:t>
            </a:r>
            <a:r>
              <a:rPr lang="nl-NL" sz="2000" dirty="0" err="1"/>
              <a:t>science</a:t>
            </a:r>
            <a:endParaRPr lang="nl-NL" sz="2000" dirty="0"/>
          </a:p>
          <a:p>
            <a:pPr lvl="1"/>
            <a:r>
              <a:rPr lang="nl-NL" sz="2000" dirty="0"/>
              <a:t>Policy </a:t>
            </a:r>
            <a:r>
              <a:rPr lang="nl-NL" sz="2000" dirty="0" err="1"/>
              <a:t>evaluation</a:t>
            </a:r>
            <a:r>
              <a:rPr lang="nl-NL" sz="2000" dirty="0"/>
              <a:t> tools </a:t>
            </a:r>
            <a:r>
              <a:rPr lang="nl-NL" sz="2000" dirty="0" err="1"/>
              <a:t>for</a:t>
            </a:r>
            <a:r>
              <a:rPr lang="nl-NL" sz="2000" dirty="0"/>
              <a:t> </a:t>
            </a:r>
            <a:r>
              <a:rPr lang="nl-NL" sz="2000" dirty="0" err="1"/>
              <a:t>evaluating</a:t>
            </a:r>
            <a:r>
              <a:rPr lang="nl-NL" sz="2000" dirty="0"/>
              <a:t> impact of </a:t>
            </a:r>
            <a:r>
              <a:rPr lang="nl-NL" sz="2000" dirty="0" err="1"/>
              <a:t>science</a:t>
            </a:r>
            <a:endParaRPr lang="nl-NL" sz="2000" dirty="0"/>
          </a:p>
          <a:p>
            <a:pPr marL="0" indent="0">
              <a:buNone/>
            </a:pPr>
            <a:r>
              <a:rPr lang="nl-NL" sz="2400" dirty="0"/>
              <a:t>2000s  Impact of </a:t>
            </a:r>
            <a:r>
              <a:rPr lang="nl-NL" sz="2400" dirty="0" err="1"/>
              <a:t>science</a:t>
            </a:r>
            <a:r>
              <a:rPr lang="nl-NL" sz="2400" dirty="0"/>
              <a:t> as aspect in research assessments and </a:t>
            </a:r>
            <a:r>
              <a:rPr lang="nl-NL" sz="2400" dirty="0" err="1"/>
              <a:t>evaluations</a:t>
            </a:r>
            <a:endParaRPr lang="nl-NL" sz="2400" dirty="0"/>
          </a:p>
          <a:p>
            <a:pPr lvl="1"/>
            <a:r>
              <a:rPr lang="nl-NL" sz="2000" dirty="0"/>
              <a:t>Indicators of impact</a:t>
            </a:r>
          </a:p>
          <a:p>
            <a:pPr lvl="1"/>
            <a:r>
              <a:rPr lang="nl-NL" sz="2000" dirty="0"/>
              <a:t>Project </a:t>
            </a:r>
            <a:r>
              <a:rPr lang="nl-NL" sz="2000" dirty="0" err="1"/>
              <a:t>related</a:t>
            </a:r>
            <a:r>
              <a:rPr lang="nl-NL" sz="2000" dirty="0"/>
              <a:t> impact </a:t>
            </a:r>
            <a:r>
              <a:rPr lang="nl-NL" sz="2000" dirty="0" err="1"/>
              <a:t>stories</a:t>
            </a:r>
            <a:r>
              <a:rPr lang="nl-NL" sz="2000" dirty="0"/>
              <a:t>.</a:t>
            </a:r>
          </a:p>
          <a:p>
            <a:pPr marL="0" indent="0">
              <a:buNone/>
            </a:pPr>
            <a:r>
              <a:rPr lang="nl-NL" sz="2400" dirty="0"/>
              <a:t>2020s Impact as </a:t>
            </a:r>
            <a:r>
              <a:rPr lang="nl-NL" sz="2400" dirty="0" err="1"/>
              <a:t>strategy</a:t>
            </a:r>
            <a:r>
              <a:rPr lang="nl-NL" sz="2400" dirty="0"/>
              <a:t> of </a:t>
            </a:r>
            <a:r>
              <a:rPr lang="nl-NL" sz="2400" dirty="0" err="1"/>
              <a:t>the</a:t>
            </a:r>
            <a:r>
              <a:rPr lang="nl-NL" sz="2400" dirty="0"/>
              <a:t> </a:t>
            </a:r>
            <a:r>
              <a:rPr lang="nl-NL" sz="2400" dirty="0" err="1"/>
              <a:t>university</a:t>
            </a:r>
            <a:endParaRPr lang="nl-NL" sz="2400" dirty="0"/>
          </a:p>
          <a:p>
            <a:pPr lvl="1"/>
            <a:r>
              <a:rPr lang="nl-NL" sz="2000" dirty="0"/>
              <a:t>Global </a:t>
            </a:r>
            <a:r>
              <a:rPr lang="nl-NL" sz="2000" dirty="0" err="1"/>
              <a:t>challenges</a:t>
            </a:r>
            <a:r>
              <a:rPr lang="nl-NL" sz="2000" dirty="0"/>
              <a:t>, </a:t>
            </a:r>
            <a:r>
              <a:rPr lang="nl-NL" sz="2000" dirty="0" err="1"/>
              <a:t>societal</a:t>
            </a:r>
            <a:r>
              <a:rPr lang="nl-NL" sz="2000" dirty="0"/>
              <a:t> engagement</a:t>
            </a:r>
          </a:p>
          <a:p>
            <a:pPr lvl="1"/>
            <a:r>
              <a:rPr lang="nl-NL" sz="2000" dirty="0" err="1"/>
              <a:t>Connecting</a:t>
            </a:r>
            <a:r>
              <a:rPr lang="nl-NL" sz="2000" dirty="0"/>
              <a:t> “</a:t>
            </a:r>
            <a:r>
              <a:rPr lang="nl-NL" sz="2000" dirty="0" err="1"/>
              <a:t>third</a:t>
            </a:r>
            <a:r>
              <a:rPr lang="nl-NL" sz="2000" dirty="0"/>
              <a:t> mission” </a:t>
            </a:r>
            <a:r>
              <a:rPr lang="nl-NL" sz="2000" dirty="0" err="1"/>
              <a:t>with</a:t>
            </a:r>
            <a:r>
              <a:rPr lang="nl-NL" sz="2000" dirty="0"/>
              <a:t> research and teaching</a:t>
            </a:r>
          </a:p>
          <a:p>
            <a:pPr marL="457200" lvl="1" indent="0">
              <a:buNone/>
            </a:pPr>
            <a:endParaRPr lang="nl-NL" sz="2000" dirty="0"/>
          </a:p>
          <a:p>
            <a:pPr marL="457200" lvl="1" indent="0">
              <a:buNone/>
            </a:pPr>
            <a:endParaRPr lang="nl-NL" sz="2000" dirty="0"/>
          </a:p>
        </p:txBody>
      </p:sp>
      <p:sp>
        <p:nvSpPr>
          <p:cNvPr id="11" name="Footer Placeholder 10">
            <a:extLst>
              <a:ext uri="{FF2B5EF4-FFF2-40B4-BE49-F238E27FC236}">
                <a16:creationId xmlns:a16="http://schemas.microsoft.com/office/drawing/2014/main" id="{78091ECE-3C33-48B5-A483-8211F68A9A4A}"/>
              </a:ext>
            </a:extLst>
          </p:cNvPr>
          <p:cNvSpPr>
            <a:spLocks noGrp="1"/>
          </p:cNvSpPr>
          <p:nvPr>
            <p:ph type="ftr" sz="quarter" idx="11"/>
          </p:nvPr>
        </p:nvSpPr>
        <p:spPr>
          <a:xfrm>
            <a:off x="6733251" y="6357848"/>
            <a:ext cx="4790155"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all" spc="0" normalizeH="0" baseline="0" noProof="0" dirty="0">
                <a:ln>
                  <a:noFill/>
                </a:ln>
                <a:solidFill>
                  <a:srgbClr val="469BC0"/>
                </a:solidFill>
                <a:effectLst/>
                <a:uLnTx/>
                <a:uFillTx/>
                <a:latin typeface="Arial" panose="020B0604020202020204" pitchFamily="34" charset="0"/>
                <a:ea typeface="+mn-ea"/>
                <a:cs typeface="+mn-cs"/>
              </a:rPr>
              <a:t>AESIS CONFERENCE 23-25 June 2020 | Cape Town | Barend van der Meulen</a:t>
            </a:r>
          </a:p>
        </p:txBody>
      </p:sp>
      <p:sp>
        <p:nvSpPr>
          <p:cNvPr id="4" name="Arrow: Right 3">
            <a:extLst>
              <a:ext uri="{FF2B5EF4-FFF2-40B4-BE49-F238E27FC236}">
                <a16:creationId xmlns:a16="http://schemas.microsoft.com/office/drawing/2014/main" id="{89B47419-621F-4D2F-9A4E-D8AD084A81E8}"/>
              </a:ext>
            </a:extLst>
          </p:cNvPr>
          <p:cNvSpPr/>
          <p:nvPr/>
        </p:nvSpPr>
        <p:spPr>
          <a:xfrm>
            <a:off x="8003357" y="4204355"/>
            <a:ext cx="688156"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8E0A9413-568F-4342-8D87-92D416F34C9B}"/>
              </a:ext>
            </a:extLst>
          </p:cNvPr>
          <p:cNvSpPr txBox="1"/>
          <p:nvPr/>
        </p:nvSpPr>
        <p:spPr>
          <a:xfrm>
            <a:off x="9030878" y="4204355"/>
            <a:ext cx="31611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Example Rathenau </a:t>
            </a:r>
            <a:r>
              <a:rPr kumimoji="0" lang="en-GB" sz="1800" b="0" i="0" u="none" strike="noStrike" kern="1200" cap="none" spc="0" normalizeH="0" baseline="0" noProof="0" dirty="0" err="1">
                <a:ln>
                  <a:noFill/>
                </a:ln>
                <a:solidFill>
                  <a:srgbClr val="000000"/>
                </a:solidFill>
                <a:effectLst/>
                <a:uLnTx/>
                <a:uFillTx/>
                <a:latin typeface="Arial" panose="020B0604020202020204"/>
                <a:ea typeface="+mn-ea"/>
                <a:cs typeface="+mn-cs"/>
              </a:rPr>
              <a:t>Instituut</a:t>
            </a:r>
            <a:endParaRPr kumimoji="0" lang="nl-NL"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Arrow: Right 7">
            <a:extLst>
              <a:ext uri="{FF2B5EF4-FFF2-40B4-BE49-F238E27FC236}">
                <a16:creationId xmlns:a16="http://schemas.microsoft.com/office/drawing/2014/main" id="{0DFB81E2-2606-49FB-9EAE-D851EF0BD887}"/>
              </a:ext>
            </a:extLst>
          </p:cNvPr>
          <p:cNvSpPr/>
          <p:nvPr/>
        </p:nvSpPr>
        <p:spPr>
          <a:xfrm>
            <a:off x="8003357" y="5179213"/>
            <a:ext cx="688156" cy="3651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0E315472-A69B-4B31-B78A-79C5602E11AA}"/>
              </a:ext>
            </a:extLst>
          </p:cNvPr>
          <p:cNvSpPr txBox="1"/>
          <p:nvPr/>
        </p:nvSpPr>
        <p:spPr>
          <a:xfrm>
            <a:off x="9030878" y="5175006"/>
            <a:ext cx="1886504"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panose="020B0604020202020204"/>
                <a:ea typeface="+mn-ea"/>
                <a:cs typeface="+mn-cs"/>
              </a:rPr>
              <a:t>New toolboxes</a:t>
            </a:r>
            <a:endParaRPr kumimoji="0" lang="nl-NL"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Slide Number Placeholder 5">
            <a:extLst>
              <a:ext uri="{FF2B5EF4-FFF2-40B4-BE49-F238E27FC236}">
                <a16:creationId xmlns:a16="http://schemas.microsoft.com/office/drawing/2014/main" id="{2198E8B0-05E9-49CE-ADD8-B13BC698FED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10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363435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303" y="239014"/>
            <a:ext cx="9815195" cy="574040"/>
          </a:xfrm>
          <a:prstGeom prst="rect">
            <a:avLst/>
          </a:prstGeom>
        </p:spPr>
        <p:txBody>
          <a:bodyPr vert="horz" wrap="square" lIns="0" tIns="12700" rIns="0" bIns="0" rtlCol="0">
            <a:spAutoFit/>
          </a:bodyPr>
          <a:lstStyle/>
          <a:p>
            <a:pPr marL="12700">
              <a:lnSpc>
                <a:spcPct val="100000"/>
              </a:lnSpc>
              <a:spcBef>
                <a:spcPts val="100"/>
              </a:spcBef>
            </a:pPr>
            <a:r>
              <a:rPr sz="3600" spc="290" dirty="0"/>
              <a:t>Consider </a:t>
            </a:r>
            <a:r>
              <a:rPr sz="3600" spc="310" dirty="0"/>
              <a:t>these </a:t>
            </a:r>
            <a:r>
              <a:rPr sz="3600" spc="185" dirty="0"/>
              <a:t>I&amp;E </a:t>
            </a:r>
            <a:r>
              <a:rPr sz="3600" spc="225" dirty="0"/>
              <a:t>Impact</a:t>
            </a:r>
            <a:r>
              <a:rPr sz="3600" spc="-434" dirty="0"/>
              <a:t> </a:t>
            </a:r>
            <a:r>
              <a:rPr sz="3600" spc="290" dirty="0"/>
              <a:t>Indicators</a:t>
            </a:r>
            <a:endParaRPr sz="3600"/>
          </a:p>
        </p:txBody>
      </p:sp>
      <p:sp>
        <p:nvSpPr>
          <p:cNvPr id="3" name="object 3"/>
          <p:cNvSpPr/>
          <p:nvPr/>
        </p:nvSpPr>
        <p:spPr>
          <a:xfrm>
            <a:off x="466344" y="932688"/>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678586" y="1349502"/>
            <a:ext cx="9912985" cy="3934460"/>
          </a:xfrm>
          <a:prstGeom prst="rect">
            <a:avLst/>
          </a:prstGeom>
        </p:spPr>
        <p:txBody>
          <a:bodyPr vert="horz" wrap="square" lIns="0" tIns="12700" rIns="0" bIns="0" rtlCol="0">
            <a:spAutoFit/>
          </a:bodyPr>
          <a:lstStyle/>
          <a:p>
            <a:pPr marL="283845" marR="0" lvl="0" indent="-271780" algn="l" defTabSz="914400" rtl="0" eaLnBrk="1" fontAlgn="auto" latinLnBrk="0" hangingPunct="1">
              <a:lnSpc>
                <a:spcPct val="100000"/>
              </a:lnSpc>
              <a:spcBef>
                <a:spcPts val="100"/>
              </a:spcBef>
              <a:spcAft>
                <a:spcPts val="0"/>
              </a:spcAft>
              <a:buClrTx/>
              <a:buSzTx/>
              <a:buFont typeface="Arial"/>
              <a:buChar char="•"/>
              <a:tabLst>
                <a:tab pos="283845" algn="l"/>
                <a:tab pos="284480" algn="l"/>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collaborative </a:t>
            </a:r>
            <a:r>
              <a:rPr kumimoji="0" sz="1800" b="0" i="0" u="none" strike="noStrike" kern="1200" cap="none" spc="-40" normalizeH="0" baseline="0" noProof="0" dirty="0">
                <a:ln>
                  <a:noFill/>
                </a:ln>
                <a:solidFill>
                  <a:srgbClr val="FFFFFF"/>
                </a:solidFill>
                <a:effectLst/>
                <a:uLnTx/>
                <a:uFillTx/>
                <a:latin typeface="Verdana"/>
                <a:ea typeface="+mn-ea"/>
                <a:cs typeface="Verdana"/>
              </a:rPr>
              <a:t>projects </a:t>
            </a:r>
            <a:r>
              <a:rPr kumimoji="0" sz="1800" b="0" i="0" u="none" strike="noStrike" kern="1200" cap="none" spc="-65" normalizeH="0" baseline="0" noProof="0" dirty="0">
                <a:ln>
                  <a:noFill/>
                </a:ln>
                <a:solidFill>
                  <a:srgbClr val="FFFFFF"/>
                </a:solidFill>
                <a:effectLst/>
                <a:uLnTx/>
                <a:uFillTx/>
                <a:latin typeface="Verdana"/>
                <a:ea typeface="+mn-ea"/>
                <a:cs typeface="Verdana"/>
              </a:rPr>
              <a:t>with</a:t>
            </a:r>
            <a:r>
              <a:rPr kumimoji="0" sz="1800" b="0" i="0" u="none" strike="noStrike" kern="1200" cap="none" spc="-390" normalizeH="0" baseline="0" noProof="0" dirty="0">
                <a:ln>
                  <a:noFill/>
                </a:ln>
                <a:solidFill>
                  <a:srgbClr val="FFFFFF"/>
                </a:solidFill>
                <a:effectLst/>
                <a:uLnTx/>
                <a:uFillTx/>
                <a:latin typeface="Verdana"/>
                <a:ea typeface="+mn-ea"/>
                <a:cs typeface="Verdana"/>
              </a:rPr>
              <a:t> </a:t>
            </a:r>
            <a:r>
              <a:rPr kumimoji="0" sz="1800" b="0" i="0" u="none" strike="noStrike" kern="1200" cap="none" spc="-30" normalizeH="0" baseline="0" noProof="0" dirty="0">
                <a:ln>
                  <a:noFill/>
                </a:ln>
                <a:solidFill>
                  <a:srgbClr val="FFFFFF"/>
                </a:solidFill>
                <a:effectLst/>
                <a:uLnTx/>
                <a:uFillTx/>
                <a:latin typeface="Verdana"/>
                <a:ea typeface="+mn-ea"/>
                <a:cs typeface="Verdana"/>
              </a:rPr>
              <a:t>corporates</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60"/>
              </a:spcBef>
              <a:spcAft>
                <a:spcPts val="0"/>
              </a:spcAft>
              <a:buClrTx/>
              <a:buSzTx/>
              <a:buFont typeface="Arial"/>
              <a:buChar char="•"/>
              <a:tabLst>
                <a:tab pos="283845" algn="l"/>
                <a:tab pos="284480" algn="l"/>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Amount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60" normalizeH="0" baseline="0" noProof="0" dirty="0">
                <a:ln>
                  <a:noFill/>
                </a:ln>
                <a:solidFill>
                  <a:srgbClr val="FFFFFF"/>
                </a:solidFill>
                <a:effectLst/>
                <a:uLnTx/>
                <a:uFillTx/>
                <a:latin typeface="Verdana"/>
                <a:ea typeface="+mn-ea"/>
                <a:cs typeface="Verdana"/>
              </a:rPr>
              <a:t>industry </a:t>
            </a:r>
            <a:r>
              <a:rPr kumimoji="0" sz="1800" b="0" i="0" u="none" strike="noStrike" kern="1200" cap="none" spc="-25" normalizeH="0" baseline="0" noProof="0" dirty="0">
                <a:ln>
                  <a:noFill/>
                </a:ln>
                <a:solidFill>
                  <a:srgbClr val="FFFFFF"/>
                </a:solidFill>
                <a:effectLst/>
                <a:uLnTx/>
                <a:uFillTx/>
                <a:latin typeface="Verdana"/>
                <a:ea typeface="+mn-ea"/>
                <a:cs typeface="Verdana"/>
              </a:rPr>
              <a:t>dollars</a:t>
            </a:r>
            <a:r>
              <a:rPr kumimoji="0" sz="1800" b="0" i="0" u="none" strike="noStrike" kern="1200" cap="none" spc="-150" normalizeH="0" baseline="0" noProof="0" dirty="0">
                <a:ln>
                  <a:noFill/>
                </a:ln>
                <a:solidFill>
                  <a:srgbClr val="FFFFFF"/>
                </a:solidFill>
                <a:effectLst/>
                <a:uLnTx/>
                <a:uFillTx/>
                <a:latin typeface="Verdana"/>
                <a:ea typeface="+mn-ea"/>
                <a:cs typeface="Verdana"/>
              </a:rPr>
              <a:t> </a:t>
            </a:r>
            <a:r>
              <a:rPr kumimoji="0" sz="1800" b="0" i="0" u="none" strike="noStrike" kern="1200" cap="none" spc="-45" normalizeH="0" baseline="0" noProof="0" dirty="0">
                <a:ln>
                  <a:noFill/>
                </a:ln>
                <a:solidFill>
                  <a:srgbClr val="FFFFFF"/>
                </a:solidFill>
                <a:effectLst/>
                <a:uLnTx/>
                <a:uFillTx/>
                <a:latin typeface="Verdana"/>
                <a:ea typeface="+mn-ea"/>
                <a:cs typeface="Verdana"/>
              </a:rPr>
              <a:t>raised</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35"/>
              </a:spcBef>
              <a:spcAft>
                <a:spcPts val="0"/>
              </a:spcAft>
              <a:buClrTx/>
              <a:buSzTx/>
              <a:buFont typeface="Arial"/>
              <a:buChar char="•"/>
              <a:tabLst>
                <a:tab pos="283845" algn="l"/>
                <a:tab pos="284480" algn="l"/>
              </a:tabLst>
              <a:defRPr/>
            </a:pPr>
            <a:r>
              <a:rPr kumimoji="0" sz="1800" b="0" i="0" u="none" strike="noStrike" kern="1200" cap="none" spc="-60" normalizeH="0" baseline="0" noProof="0" dirty="0">
                <a:ln>
                  <a:noFill/>
                </a:ln>
                <a:solidFill>
                  <a:srgbClr val="FFFFFF"/>
                </a:solidFill>
                <a:effectLst/>
                <a:uLnTx/>
                <a:uFillTx/>
                <a:latin typeface="Verdana"/>
                <a:ea typeface="+mn-ea"/>
                <a:cs typeface="Verdana"/>
              </a:rPr>
              <a:t>Imputed </a:t>
            </a:r>
            <a:r>
              <a:rPr kumimoji="0" sz="1800" b="0" i="0" u="none" strike="noStrike" kern="1200" cap="none" spc="-35" normalizeH="0" baseline="0" noProof="0" dirty="0">
                <a:ln>
                  <a:noFill/>
                </a:ln>
                <a:solidFill>
                  <a:srgbClr val="FFFFFF"/>
                </a:solidFill>
                <a:effectLst/>
                <a:uLnTx/>
                <a:uFillTx/>
                <a:latin typeface="Verdana"/>
                <a:ea typeface="+mn-ea"/>
                <a:cs typeface="Verdana"/>
              </a:rPr>
              <a:t>Commercial </a:t>
            </a:r>
            <a:r>
              <a:rPr kumimoji="0" sz="1800" b="0" i="0" u="none" strike="noStrike" kern="1200" cap="none" spc="-60" normalizeH="0" baseline="0" noProof="0" dirty="0">
                <a:ln>
                  <a:noFill/>
                </a:ln>
                <a:solidFill>
                  <a:srgbClr val="FFFFFF"/>
                </a:solidFill>
                <a:effectLst/>
                <a:uLnTx/>
                <a:uFillTx/>
                <a:latin typeface="Verdana"/>
                <a:ea typeface="+mn-ea"/>
                <a:cs typeface="Verdana"/>
              </a:rPr>
              <a:t>Value </a:t>
            </a:r>
            <a:r>
              <a:rPr kumimoji="0" sz="1800" b="0" i="0" u="none" strike="noStrike" kern="1200" cap="none" spc="-15" normalizeH="0" baseline="0" noProof="0" dirty="0">
                <a:ln>
                  <a:noFill/>
                </a:ln>
                <a:solidFill>
                  <a:srgbClr val="FFFFFF"/>
                </a:solidFill>
                <a:effectLst/>
                <a:uLnTx/>
                <a:uFillTx/>
                <a:latin typeface="Verdana"/>
                <a:ea typeface="+mn-ea"/>
                <a:cs typeface="Verdana"/>
              </a:rPr>
              <a:t>derived </a:t>
            </a:r>
            <a:r>
              <a:rPr kumimoji="0" sz="1800" b="0" i="0" u="none" strike="noStrike" kern="1200" cap="none" spc="-70" normalizeH="0" baseline="0" noProof="0" dirty="0">
                <a:ln>
                  <a:noFill/>
                </a:ln>
                <a:solidFill>
                  <a:srgbClr val="FFFFFF"/>
                </a:solidFill>
                <a:effectLst/>
                <a:uLnTx/>
                <a:uFillTx/>
                <a:latin typeface="Verdana"/>
                <a:ea typeface="+mn-ea"/>
                <a:cs typeface="Verdana"/>
              </a:rPr>
              <a:t>from </a:t>
            </a:r>
            <a:r>
              <a:rPr kumimoji="0" sz="1800" b="0" i="0" u="none" strike="noStrike" kern="1200" cap="none" spc="-40" normalizeH="0" baseline="0" noProof="0" dirty="0">
                <a:ln>
                  <a:noFill/>
                </a:ln>
                <a:solidFill>
                  <a:srgbClr val="FFFFFF"/>
                </a:solidFill>
                <a:effectLst/>
                <a:uLnTx/>
                <a:uFillTx/>
                <a:latin typeface="Verdana"/>
                <a:ea typeface="+mn-ea"/>
                <a:cs typeface="Verdana"/>
              </a:rPr>
              <a:t>commercialisation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15" normalizeH="0" baseline="0" noProof="0" dirty="0">
                <a:ln>
                  <a:noFill/>
                </a:ln>
                <a:solidFill>
                  <a:srgbClr val="FFFFFF"/>
                </a:solidFill>
                <a:effectLst/>
                <a:uLnTx/>
                <a:uFillTx/>
                <a:latin typeface="Verdana"/>
                <a:ea typeface="+mn-ea"/>
                <a:cs typeface="Verdana"/>
              </a:rPr>
              <a:t>licensed</a:t>
            </a:r>
            <a:r>
              <a:rPr kumimoji="0" sz="1800" b="0" i="0" u="none" strike="noStrike" kern="1200" cap="none" spc="-395" normalizeH="0" baseline="0" noProof="0" dirty="0">
                <a:ln>
                  <a:noFill/>
                </a:ln>
                <a:solidFill>
                  <a:srgbClr val="FFFFFF"/>
                </a:solidFill>
                <a:effectLst/>
                <a:uLnTx/>
                <a:uFillTx/>
                <a:latin typeface="Verdana"/>
                <a:ea typeface="+mn-ea"/>
                <a:cs typeface="Verdana"/>
              </a:rPr>
              <a:t> </a:t>
            </a:r>
            <a:r>
              <a:rPr kumimoji="0" sz="1800" b="0" i="0" u="none" strike="noStrike" kern="1200" cap="none" spc="-35" normalizeH="0" baseline="0" noProof="0" dirty="0">
                <a:ln>
                  <a:noFill/>
                </a:ln>
                <a:solidFill>
                  <a:srgbClr val="FFFFFF"/>
                </a:solidFill>
                <a:effectLst/>
                <a:uLnTx/>
                <a:uFillTx/>
                <a:latin typeface="Verdana"/>
                <a:ea typeface="+mn-ea"/>
                <a:cs typeface="Verdana"/>
              </a:rPr>
              <a:t>IP/collaboration</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0" algn="l" defTabSz="914400" rtl="0" eaLnBrk="1" fontAlgn="auto" latinLnBrk="0" hangingPunct="1">
              <a:lnSpc>
                <a:spcPct val="100000"/>
              </a:lnSpc>
              <a:spcBef>
                <a:spcPts val="530"/>
              </a:spcBef>
              <a:spcAft>
                <a:spcPts val="0"/>
              </a:spcAft>
              <a:buClrTx/>
              <a:buSzTx/>
              <a:buFontTx/>
              <a:buNone/>
              <a:tabLst/>
              <a:defRPr/>
            </a:pPr>
            <a:r>
              <a:rPr kumimoji="0" sz="1800" b="0" i="0" u="none" strike="noStrike" kern="1200" cap="none" spc="-40" normalizeH="0" baseline="0" noProof="0" dirty="0">
                <a:ln>
                  <a:noFill/>
                </a:ln>
                <a:solidFill>
                  <a:srgbClr val="FFFFFF"/>
                </a:solidFill>
                <a:effectLst/>
                <a:uLnTx/>
                <a:uFillTx/>
                <a:latin typeface="Verdana"/>
                <a:ea typeface="+mn-ea"/>
                <a:cs typeface="Verdana"/>
              </a:rPr>
              <a:t>through </a:t>
            </a:r>
            <a:r>
              <a:rPr kumimoji="0" sz="1800" b="0" i="0" u="none" strike="noStrike" kern="1200" cap="none" spc="-30" normalizeH="0" baseline="0" noProof="0" dirty="0">
                <a:ln>
                  <a:noFill/>
                </a:ln>
                <a:solidFill>
                  <a:srgbClr val="FFFFFF"/>
                </a:solidFill>
                <a:effectLst/>
                <a:uLnTx/>
                <a:uFillTx/>
                <a:latin typeface="Verdana"/>
                <a:ea typeface="+mn-ea"/>
                <a:cs typeface="Verdana"/>
              </a:rPr>
              <a:t>public-private</a:t>
            </a:r>
            <a:r>
              <a:rPr kumimoji="0" sz="1800" b="0" i="0" u="none" strike="noStrike" kern="1200" cap="none" spc="-200" normalizeH="0" baseline="0" noProof="0" dirty="0">
                <a:ln>
                  <a:noFill/>
                </a:ln>
                <a:solidFill>
                  <a:srgbClr val="FFFFFF"/>
                </a:solidFill>
                <a:effectLst/>
                <a:uLnTx/>
                <a:uFillTx/>
                <a:latin typeface="Verdana"/>
                <a:ea typeface="+mn-ea"/>
                <a:cs typeface="Verdana"/>
              </a:rPr>
              <a:t> </a:t>
            </a:r>
            <a:r>
              <a:rPr kumimoji="0" sz="1800" b="0" i="0" u="none" strike="noStrike" kern="1200" cap="none" spc="-45" normalizeH="0" baseline="0" noProof="0" dirty="0">
                <a:ln>
                  <a:noFill/>
                </a:ln>
                <a:solidFill>
                  <a:srgbClr val="FFFFFF"/>
                </a:solidFill>
                <a:effectLst/>
                <a:uLnTx/>
                <a:uFillTx/>
                <a:latin typeface="Verdana"/>
                <a:ea typeface="+mn-ea"/>
                <a:cs typeface="Verdana"/>
              </a:rPr>
              <a:t>partnerships</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35"/>
              </a:spcBef>
              <a:spcAft>
                <a:spcPts val="0"/>
              </a:spcAft>
              <a:buClrTx/>
              <a:buSzTx/>
              <a:buFont typeface="Arial"/>
              <a:buChar char="•"/>
              <a:tabLst>
                <a:tab pos="283845" algn="l"/>
                <a:tab pos="284480" algn="l"/>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40" normalizeH="0" baseline="0" noProof="0" dirty="0">
                <a:ln>
                  <a:noFill/>
                </a:ln>
                <a:solidFill>
                  <a:srgbClr val="FFFFFF"/>
                </a:solidFill>
                <a:effectLst/>
                <a:uLnTx/>
                <a:uFillTx/>
                <a:latin typeface="Verdana"/>
                <a:ea typeface="+mn-ea"/>
                <a:cs typeface="Verdana"/>
              </a:rPr>
              <a:t>tech </a:t>
            </a:r>
            <a:r>
              <a:rPr kumimoji="0" sz="1800" b="0" i="0" u="none" strike="noStrike" kern="1200" cap="none" spc="-60" normalizeH="0" baseline="0" noProof="0" dirty="0">
                <a:ln>
                  <a:noFill/>
                </a:ln>
                <a:solidFill>
                  <a:srgbClr val="FFFFFF"/>
                </a:solidFill>
                <a:effectLst/>
                <a:uLnTx/>
                <a:uFillTx/>
                <a:latin typeface="Verdana"/>
                <a:ea typeface="+mn-ea"/>
                <a:cs typeface="Verdana"/>
              </a:rPr>
              <a:t>talent</a:t>
            </a:r>
            <a:r>
              <a:rPr kumimoji="0" sz="1800" b="0" i="0" u="none" strike="noStrike" kern="1200" cap="none" spc="-265" normalizeH="0" baseline="0" noProof="0" dirty="0">
                <a:ln>
                  <a:noFill/>
                </a:ln>
                <a:solidFill>
                  <a:srgbClr val="FFFFFF"/>
                </a:solidFill>
                <a:effectLst/>
                <a:uLnTx/>
                <a:uFillTx/>
                <a:latin typeface="Verdana"/>
                <a:ea typeface="+mn-ea"/>
                <a:cs typeface="Verdana"/>
              </a:rPr>
              <a:t> </a:t>
            </a:r>
            <a:r>
              <a:rPr kumimoji="0" sz="1800" b="0" i="0" u="none" strike="noStrike" kern="1200" cap="none" spc="-20" normalizeH="0" baseline="0" noProof="0" dirty="0">
                <a:ln>
                  <a:noFill/>
                </a:ln>
                <a:solidFill>
                  <a:srgbClr val="FFFFFF"/>
                </a:solidFill>
                <a:effectLst/>
                <a:uLnTx/>
                <a:uFillTx/>
                <a:latin typeface="Verdana"/>
                <a:ea typeface="+mn-ea"/>
                <a:cs typeface="Verdana"/>
              </a:rPr>
              <a:t>recruited/developed/retained</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65"/>
              </a:spcBef>
              <a:spcAft>
                <a:spcPts val="0"/>
              </a:spcAft>
              <a:buClrTx/>
              <a:buSzTx/>
              <a:buFont typeface="Arial"/>
              <a:buChar char="•"/>
              <a:tabLst>
                <a:tab pos="283845" algn="l"/>
                <a:tab pos="284480" algn="l"/>
              </a:tabLst>
              <a:defRPr/>
            </a:pPr>
            <a:r>
              <a:rPr kumimoji="0" sz="1800" b="0" i="0" u="none" strike="noStrike" kern="1200" cap="none" spc="-35"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40" normalizeH="0" baseline="0" noProof="0" dirty="0">
                <a:ln>
                  <a:noFill/>
                </a:ln>
                <a:solidFill>
                  <a:srgbClr val="FFFFFF"/>
                </a:solidFill>
                <a:effectLst/>
                <a:uLnTx/>
                <a:uFillTx/>
                <a:latin typeface="Verdana"/>
                <a:ea typeface="+mn-ea"/>
                <a:cs typeface="Verdana"/>
              </a:rPr>
              <a:t>tech </a:t>
            </a:r>
            <a:r>
              <a:rPr kumimoji="0" sz="1800" b="0" i="0" u="none" strike="noStrike" kern="1200" cap="none" spc="-60" normalizeH="0" baseline="0" noProof="0" dirty="0">
                <a:ln>
                  <a:noFill/>
                </a:ln>
                <a:solidFill>
                  <a:srgbClr val="FFFFFF"/>
                </a:solidFill>
                <a:effectLst/>
                <a:uLnTx/>
                <a:uFillTx/>
                <a:latin typeface="Verdana"/>
                <a:ea typeface="+mn-ea"/>
                <a:cs typeface="Verdana"/>
              </a:rPr>
              <a:t>talent </a:t>
            </a:r>
            <a:r>
              <a:rPr kumimoji="0" sz="1800" b="0" i="0" u="none" strike="noStrike" kern="1200" cap="none" spc="-10" normalizeH="0" baseline="0" noProof="0" dirty="0">
                <a:ln>
                  <a:noFill/>
                </a:ln>
                <a:solidFill>
                  <a:srgbClr val="FFFFFF"/>
                </a:solidFill>
                <a:effectLst/>
                <a:uLnTx/>
                <a:uFillTx/>
                <a:latin typeface="Verdana"/>
                <a:ea typeface="+mn-ea"/>
                <a:cs typeface="Verdana"/>
              </a:rPr>
              <a:t>deployed/contributing </a:t>
            </a:r>
            <a:r>
              <a:rPr kumimoji="0" sz="1800" b="0" i="0" u="none" strike="noStrike" kern="1200" cap="none" spc="-45" normalizeH="0" baseline="0" noProof="0" dirty="0">
                <a:ln>
                  <a:noFill/>
                </a:ln>
                <a:solidFill>
                  <a:srgbClr val="FFFFFF"/>
                </a:solidFill>
                <a:effectLst/>
                <a:uLnTx/>
                <a:uFillTx/>
                <a:latin typeface="Verdana"/>
                <a:ea typeface="+mn-ea"/>
                <a:cs typeface="Verdana"/>
              </a:rPr>
              <a:t>to</a:t>
            </a:r>
            <a:r>
              <a:rPr kumimoji="0" sz="1800" b="0" i="0" u="none" strike="noStrike" kern="1200" cap="none" spc="-445" normalizeH="0" baseline="0" noProof="0" dirty="0">
                <a:ln>
                  <a:noFill/>
                </a:ln>
                <a:solidFill>
                  <a:srgbClr val="FFFFFF"/>
                </a:solidFill>
                <a:effectLst/>
                <a:uLnTx/>
                <a:uFillTx/>
                <a:latin typeface="Verdana"/>
                <a:ea typeface="+mn-ea"/>
                <a:cs typeface="Verdana"/>
              </a:rPr>
              <a:t> </a:t>
            </a:r>
            <a:r>
              <a:rPr kumimoji="0" sz="1800" b="0" i="0" u="none" strike="noStrike" kern="1200" cap="none" spc="-60" normalizeH="0" baseline="0" noProof="0" dirty="0">
                <a:ln>
                  <a:noFill/>
                </a:ln>
                <a:solidFill>
                  <a:srgbClr val="FFFFFF"/>
                </a:solidFill>
                <a:effectLst/>
                <a:uLnTx/>
                <a:uFillTx/>
                <a:latin typeface="Verdana"/>
                <a:ea typeface="+mn-ea"/>
                <a:cs typeface="Verdana"/>
              </a:rPr>
              <a:t>industry</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35"/>
              </a:spcBef>
              <a:spcAft>
                <a:spcPts val="0"/>
              </a:spcAft>
              <a:buClrTx/>
              <a:buSzTx/>
              <a:buFont typeface="Arial"/>
              <a:buChar char="•"/>
              <a:tabLst>
                <a:tab pos="283845" algn="l"/>
                <a:tab pos="284480" algn="l"/>
              </a:tabLst>
              <a:defRPr/>
            </a:pPr>
            <a:r>
              <a:rPr kumimoji="0" sz="1800" b="0" i="0" u="none" strike="noStrike" kern="1200" cap="none" spc="-30" normalizeH="0" baseline="0" noProof="0" dirty="0">
                <a:ln>
                  <a:noFill/>
                </a:ln>
                <a:solidFill>
                  <a:srgbClr val="FFFFFF"/>
                </a:solidFill>
                <a:effectLst/>
                <a:uLnTx/>
                <a:uFillTx/>
                <a:latin typeface="Verdana"/>
                <a:ea typeface="+mn-ea"/>
                <a:cs typeface="Verdana"/>
              </a:rPr>
              <a:t>No.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40" normalizeH="0" baseline="0" noProof="0" dirty="0">
                <a:ln>
                  <a:noFill/>
                </a:ln>
                <a:solidFill>
                  <a:srgbClr val="FFFFFF"/>
                </a:solidFill>
                <a:effectLst/>
                <a:uLnTx/>
                <a:uFillTx/>
                <a:latin typeface="Verdana"/>
                <a:ea typeface="+mn-ea"/>
                <a:cs typeface="Verdana"/>
              </a:rPr>
              <a:t>international</a:t>
            </a:r>
            <a:r>
              <a:rPr kumimoji="0" sz="1800" b="0" i="0" u="none" strike="noStrike" kern="1200" cap="none" spc="-245" normalizeH="0" baseline="0" noProof="0" dirty="0">
                <a:ln>
                  <a:noFill/>
                </a:ln>
                <a:solidFill>
                  <a:srgbClr val="FFFFFF"/>
                </a:solidFill>
                <a:effectLst/>
                <a:uLnTx/>
                <a:uFillTx/>
                <a:latin typeface="Verdana"/>
                <a:ea typeface="+mn-ea"/>
                <a:cs typeface="Verdana"/>
              </a:rPr>
              <a:t> </a:t>
            </a:r>
            <a:r>
              <a:rPr kumimoji="0" sz="1800" b="0" i="0" u="none" strike="noStrike" kern="1200" cap="none" spc="-40" normalizeH="0" baseline="0" noProof="0" dirty="0">
                <a:ln>
                  <a:noFill/>
                </a:ln>
                <a:solidFill>
                  <a:srgbClr val="FFFFFF"/>
                </a:solidFill>
                <a:effectLst/>
                <a:uLnTx/>
                <a:uFillTx/>
                <a:latin typeface="Verdana"/>
                <a:ea typeface="+mn-ea"/>
                <a:cs typeface="Verdana"/>
              </a:rPr>
              <a:t>engagements/projects</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40"/>
              </a:spcBef>
              <a:spcAft>
                <a:spcPts val="0"/>
              </a:spcAft>
              <a:buClrTx/>
              <a:buSzTx/>
              <a:buFont typeface="Arial"/>
              <a:buChar char="•"/>
              <a:tabLst>
                <a:tab pos="283845" algn="l"/>
                <a:tab pos="284480" algn="l"/>
              </a:tabLst>
              <a:defRPr/>
            </a:pPr>
            <a:r>
              <a:rPr kumimoji="0" sz="1800" b="0" i="0" u="none" strike="noStrike" kern="1200" cap="none" spc="-85" normalizeH="0" baseline="0" noProof="0" dirty="0">
                <a:ln>
                  <a:noFill/>
                </a:ln>
                <a:solidFill>
                  <a:srgbClr val="FFFFFF"/>
                </a:solidFill>
                <a:effectLst/>
                <a:uLnTx/>
                <a:uFillTx/>
                <a:latin typeface="Verdana"/>
                <a:ea typeface="+mn-ea"/>
                <a:cs typeface="Verdana"/>
              </a:rPr>
              <a:t>Impact </a:t>
            </a:r>
            <a:r>
              <a:rPr kumimoji="0" sz="1800" b="0" i="0" u="none" strike="noStrike" kern="1200" cap="none" spc="-35" normalizeH="0" baseline="0" noProof="0" dirty="0">
                <a:ln>
                  <a:noFill/>
                </a:ln>
                <a:solidFill>
                  <a:srgbClr val="FFFFFF"/>
                </a:solidFill>
                <a:effectLst/>
                <a:uLnTx/>
                <a:uFillTx/>
                <a:latin typeface="Verdana"/>
                <a:ea typeface="+mn-ea"/>
                <a:cs typeface="Verdana"/>
              </a:rPr>
              <a:t>created </a:t>
            </a:r>
            <a:r>
              <a:rPr kumimoji="0" sz="1800" b="0" i="0" u="none" strike="noStrike" kern="1200" cap="none" spc="-70" normalizeH="0" baseline="0" noProof="0" dirty="0">
                <a:ln>
                  <a:noFill/>
                </a:ln>
                <a:solidFill>
                  <a:srgbClr val="FFFFFF"/>
                </a:solidFill>
                <a:effectLst/>
                <a:uLnTx/>
                <a:uFillTx/>
                <a:latin typeface="Verdana"/>
                <a:ea typeface="+mn-ea"/>
                <a:cs typeface="Verdana"/>
              </a:rPr>
              <a:t>from </a:t>
            </a:r>
            <a:r>
              <a:rPr kumimoji="0" sz="1800" b="0" i="0" u="none" strike="noStrike" kern="1200" cap="none" spc="-40" normalizeH="0" baseline="0" noProof="0" dirty="0">
                <a:ln>
                  <a:noFill/>
                </a:ln>
                <a:solidFill>
                  <a:srgbClr val="FFFFFF"/>
                </a:solidFill>
                <a:effectLst/>
                <a:uLnTx/>
                <a:uFillTx/>
                <a:latin typeface="Verdana"/>
                <a:ea typeface="+mn-ea"/>
                <a:cs typeface="Verdana"/>
              </a:rPr>
              <a:t>international engagements/projects </a:t>
            </a:r>
            <a:r>
              <a:rPr kumimoji="0" sz="1800" b="0" i="0" u="none" strike="noStrike" kern="1200" cap="none" spc="-85" normalizeH="0" baseline="0" noProof="0" dirty="0">
                <a:ln>
                  <a:noFill/>
                </a:ln>
                <a:solidFill>
                  <a:srgbClr val="FFFFFF"/>
                </a:solidFill>
                <a:effectLst/>
                <a:uLnTx/>
                <a:uFillTx/>
                <a:latin typeface="Verdana"/>
                <a:ea typeface="+mn-ea"/>
                <a:cs typeface="Verdana"/>
              </a:rPr>
              <a:t>(various</a:t>
            </a:r>
            <a:r>
              <a:rPr kumimoji="0" sz="1800" b="0" i="0" u="none" strike="noStrike" kern="1200" cap="none" spc="-325" normalizeH="0" baseline="0" noProof="0" dirty="0">
                <a:ln>
                  <a:noFill/>
                </a:ln>
                <a:solidFill>
                  <a:srgbClr val="FFFFFF"/>
                </a:solidFill>
                <a:effectLst/>
                <a:uLnTx/>
                <a:uFillTx/>
                <a:latin typeface="Verdana"/>
                <a:ea typeface="+mn-ea"/>
                <a:cs typeface="Verdana"/>
              </a:rPr>
              <a:t> </a:t>
            </a:r>
            <a:r>
              <a:rPr kumimoji="0" sz="1800" b="0" i="0" u="none" strike="noStrike" kern="1200" cap="none" spc="-145" normalizeH="0" baseline="0" noProof="0" dirty="0">
                <a:ln>
                  <a:noFill/>
                </a:ln>
                <a:solidFill>
                  <a:srgbClr val="FFFFFF"/>
                </a:solidFill>
                <a:effectLst/>
                <a:uLnTx/>
                <a:uFillTx/>
                <a:latin typeface="Verdana"/>
                <a:ea typeface="+mn-ea"/>
                <a:cs typeface="Verdana"/>
              </a:rPr>
              <a:t>KPIs)</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40"/>
              </a:spcBef>
              <a:spcAft>
                <a:spcPts val="0"/>
              </a:spcAft>
              <a:buClrTx/>
              <a:buSzTx/>
              <a:buFont typeface="Arial"/>
              <a:buChar char="•"/>
              <a:tabLst>
                <a:tab pos="283845" algn="l"/>
                <a:tab pos="284480" algn="l"/>
              </a:tabLst>
              <a:defRPr/>
            </a:pPr>
            <a:r>
              <a:rPr kumimoji="0" sz="1800" b="0" i="0" u="none" strike="noStrike" kern="1200" cap="none" spc="-60" normalizeH="0" baseline="0" noProof="0" dirty="0">
                <a:ln>
                  <a:noFill/>
                </a:ln>
                <a:solidFill>
                  <a:srgbClr val="FFFFFF"/>
                </a:solidFill>
                <a:effectLst/>
                <a:uLnTx/>
                <a:uFillTx/>
                <a:latin typeface="Verdana"/>
                <a:ea typeface="+mn-ea"/>
                <a:cs typeface="Verdana"/>
              </a:rPr>
              <a:t>Value </a:t>
            </a:r>
            <a:r>
              <a:rPr kumimoji="0" sz="1800" b="0" i="0" u="none" strike="noStrike" kern="1200" cap="none" spc="-30" normalizeH="0" baseline="0" noProof="0" dirty="0">
                <a:ln>
                  <a:noFill/>
                </a:ln>
                <a:solidFill>
                  <a:srgbClr val="FFFFFF"/>
                </a:solidFill>
                <a:effectLst/>
                <a:uLnTx/>
                <a:uFillTx/>
                <a:latin typeface="Verdana"/>
                <a:ea typeface="+mn-ea"/>
                <a:cs typeface="Verdana"/>
              </a:rPr>
              <a:t>created/anchored </a:t>
            </a:r>
            <a:r>
              <a:rPr kumimoji="0" sz="1800" b="0" i="0" u="none" strike="noStrike" kern="1200" cap="none" spc="-45" normalizeH="0" baseline="0" noProof="0" dirty="0">
                <a:ln>
                  <a:noFill/>
                </a:ln>
                <a:solidFill>
                  <a:srgbClr val="FFFFFF"/>
                </a:solidFill>
                <a:effectLst/>
                <a:uLnTx/>
                <a:uFillTx/>
                <a:latin typeface="Verdana"/>
                <a:ea typeface="+mn-ea"/>
                <a:cs typeface="Verdana"/>
              </a:rPr>
              <a:t>in </a:t>
            </a:r>
            <a:r>
              <a:rPr kumimoji="0" sz="1800" b="0" i="0" u="none" strike="noStrike" kern="1200" cap="none" spc="-55" normalizeH="0" baseline="0" noProof="0" dirty="0">
                <a:ln>
                  <a:noFill/>
                </a:ln>
                <a:solidFill>
                  <a:srgbClr val="FFFFFF"/>
                </a:solidFill>
                <a:effectLst/>
                <a:uLnTx/>
                <a:uFillTx/>
                <a:latin typeface="Verdana"/>
                <a:ea typeface="+mn-ea"/>
                <a:cs typeface="Verdana"/>
              </a:rPr>
              <a:t>country </a:t>
            </a:r>
            <a:r>
              <a:rPr kumimoji="0" sz="1800" b="0" i="0" u="none" strike="noStrike" kern="1200" cap="none" spc="-25" normalizeH="0" baseline="0" noProof="0" dirty="0">
                <a:ln>
                  <a:noFill/>
                </a:ln>
                <a:solidFill>
                  <a:srgbClr val="FFFFFF"/>
                </a:solidFill>
                <a:effectLst/>
                <a:uLnTx/>
                <a:uFillTx/>
                <a:latin typeface="Verdana"/>
                <a:ea typeface="+mn-ea"/>
                <a:cs typeface="Verdana"/>
              </a:rPr>
              <a:t>of</a:t>
            </a:r>
            <a:r>
              <a:rPr kumimoji="0" sz="1800" b="0" i="0" u="none" strike="noStrike" kern="1200" cap="none" spc="-220" normalizeH="0" baseline="0" noProof="0" dirty="0">
                <a:ln>
                  <a:noFill/>
                </a:ln>
                <a:solidFill>
                  <a:srgbClr val="FFFFFF"/>
                </a:solidFill>
                <a:effectLst/>
                <a:uLnTx/>
                <a:uFillTx/>
                <a:latin typeface="Verdana"/>
                <a:ea typeface="+mn-ea"/>
                <a:cs typeface="Verdana"/>
              </a:rPr>
              <a:t> </a:t>
            </a:r>
            <a:r>
              <a:rPr kumimoji="0" sz="1800" b="0" i="0" u="none" strike="noStrike" kern="1200" cap="none" spc="-10" normalizeH="0" baseline="0" noProof="0" dirty="0">
                <a:ln>
                  <a:noFill/>
                </a:ln>
                <a:solidFill>
                  <a:srgbClr val="FFFFFF"/>
                </a:solidFill>
                <a:effectLst/>
                <a:uLnTx/>
                <a:uFillTx/>
                <a:latin typeface="Verdana"/>
                <a:ea typeface="+mn-ea"/>
                <a:cs typeface="Verdana"/>
              </a:rPr>
              <a:t>origin</a:t>
            </a:r>
            <a:endParaRPr kumimoji="0" sz="18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196392" y="6521456"/>
            <a:ext cx="3338195" cy="240029"/>
          </a:xfrm>
          <a:prstGeom prst="rect">
            <a:avLst/>
          </a:prstGeom>
        </p:spPr>
        <p:txBody>
          <a:bodyPr vert="horz" wrap="square" lIns="0" tIns="5080" rIns="0" bIns="0" rtlCol="0">
            <a:spAutoFit/>
          </a:bodyPr>
          <a:lstStyle/>
          <a:p>
            <a:pPr marL="12700" marR="0" lvl="0" indent="0" algn="l" defTabSz="914400" rtl="0" eaLnBrk="1" fontAlgn="auto" latinLnBrk="0" hangingPunct="1">
              <a:lnSpc>
                <a:spcPct val="100000"/>
              </a:lnSpc>
              <a:spcBef>
                <a:spcPts val="40"/>
              </a:spcBef>
              <a:spcAft>
                <a:spcPts val="0"/>
              </a:spcAft>
              <a:buClrTx/>
              <a:buSzTx/>
              <a:buFontTx/>
              <a:buNone/>
              <a:tabLst/>
              <a:defRPr/>
            </a:pPr>
            <a:r>
              <a:rPr kumimoji="0" sz="1400" b="0" i="0" u="none" strike="noStrike" kern="1200" cap="none" spc="-30" normalizeH="0" baseline="0" noProof="0" dirty="0">
                <a:ln>
                  <a:noFill/>
                </a:ln>
                <a:solidFill>
                  <a:srgbClr val="FFFFFF"/>
                </a:solidFill>
                <a:effectLst/>
                <a:uLnTx/>
                <a:uFillTx/>
                <a:latin typeface="Verdana"/>
                <a:ea typeface="+mn-ea"/>
                <a:cs typeface="Verdana"/>
              </a:rPr>
              <a:t>Adapted </a:t>
            </a:r>
            <a:r>
              <a:rPr kumimoji="0" sz="1400" b="0" i="0" u="none" strike="noStrike" kern="1200" cap="none" spc="-114" normalizeH="0" baseline="0" noProof="0" dirty="0">
                <a:ln>
                  <a:noFill/>
                </a:ln>
                <a:solidFill>
                  <a:srgbClr val="FFFFFF"/>
                </a:solidFill>
                <a:effectLst/>
                <a:uLnTx/>
                <a:uFillTx/>
                <a:latin typeface="Verdana"/>
                <a:ea typeface="+mn-ea"/>
                <a:cs typeface="Verdana"/>
              </a:rPr>
              <a:t>from: </a:t>
            </a:r>
            <a:r>
              <a:rPr kumimoji="0" sz="1400" b="0" i="0" u="none" strike="noStrike" kern="1200" cap="none" spc="-60" normalizeH="0" baseline="0" noProof="0" dirty="0">
                <a:ln>
                  <a:noFill/>
                </a:ln>
                <a:solidFill>
                  <a:srgbClr val="FFFFFF"/>
                </a:solidFill>
                <a:effectLst/>
                <a:uLnTx/>
                <a:uFillTx/>
                <a:latin typeface="Verdana"/>
                <a:ea typeface="+mn-ea"/>
                <a:cs typeface="Verdana"/>
              </a:rPr>
              <a:t>Singapore </a:t>
            </a:r>
            <a:r>
              <a:rPr kumimoji="0" sz="1400" b="0" i="0" u="none" strike="noStrike" kern="1200" cap="none" spc="-75" normalizeH="0" baseline="0" noProof="0" dirty="0">
                <a:ln>
                  <a:noFill/>
                </a:ln>
                <a:solidFill>
                  <a:srgbClr val="FFFFFF"/>
                </a:solidFill>
                <a:effectLst/>
                <a:uLnTx/>
                <a:uFillTx/>
                <a:latin typeface="Verdana"/>
                <a:ea typeface="+mn-ea"/>
                <a:cs typeface="Verdana"/>
              </a:rPr>
              <a:t>Govt</a:t>
            </a:r>
            <a:r>
              <a:rPr kumimoji="0" sz="1400" b="0" i="0" u="none" strike="noStrike" kern="1200" cap="none" spc="-310" normalizeH="0" baseline="0" noProof="0" dirty="0">
                <a:ln>
                  <a:noFill/>
                </a:ln>
                <a:solidFill>
                  <a:srgbClr val="FFFFFF"/>
                </a:solidFill>
                <a:effectLst/>
                <a:uLnTx/>
                <a:uFillTx/>
                <a:latin typeface="Verdana"/>
                <a:ea typeface="+mn-ea"/>
                <a:cs typeface="Verdana"/>
              </a:rPr>
              <a:t> </a:t>
            </a:r>
            <a:r>
              <a:rPr kumimoji="0" sz="1400" b="0" i="0" u="none" strike="noStrike" kern="1200" cap="none" spc="-35" normalizeH="0" baseline="0" noProof="0" dirty="0">
                <a:ln>
                  <a:noFill/>
                </a:ln>
                <a:solidFill>
                  <a:srgbClr val="FFFFFF"/>
                </a:solidFill>
                <a:effectLst/>
                <a:uLnTx/>
                <a:uFillTx/>
                <a:latin typeface="Verdana"/>
                <a:ea typeface="+mn-ea"/>
                <a:cs typeface="Verdana"/>
              </a:rPr>
              <a:t>Agencies</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txBox="1"/>
          <p:nvPr/>
        </p:nvSpPr>
        <p:spPr>
          <a:xfrm>
            <a:off x="10733023" y="6551337"/>
            <a:ext cx="1327150" cy="210820"/>
          </a:xfrm>
          <a:prstGeom prst="rect">
            <a:avLst/>
          </a:prstGeom>
        </p:spPr>
        <p:txBody>
          <a:bodyPr vert="horz" wrap="square" lIns="0" tIns="6985" rIns="0" bIns="0" rtlCol="0">
            <a:spAutoFit/>
          </a:bodyPr>
          <a:lstStyle/>
          <a:p>
            <a:pPr marL="12700" marR="0" lvl="0" indent="0" algn="l" defTabSz="914400" rtl="0" eaLnBrk="1" fontAlgn="auto" latinLnBrk="0" hangingPunct="1">
              <a:lnSpc>
                <a:spcPct val="100000"/>
              </a:lnSpc>
              <a:spcBef>
                <a:spcPts val="55"/>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303" y="247599"/>
            <a:ext cx="10263505" cy="951865"/>
          </a:xfrm>
          <a:prstGeom prst="rect">
            <a:avLst/>
          </a:prstGeom>
        </p:spPr>
        <p:txBody>
          <a:bodyPr vert="horz" wrap="square" lIns="0" tIns="12065" rIns="0" bIns="0" rtlCol="0">
            <a:spAutoFit/>
          </a:bodyPr>
          <a:lstStyle/>
          <a:p>
            <a:pPr marL="12700">
              <a:lnSpc>
                <a:spcPts val="3650"/>
              </a:lnSpc>
              <a:spcBef>
                <a:spcPts val="95"/>
              </a:spcBef>
            </a:pPr>
            <a:r>
              <a:rPr sz="3200" spc="204" dirty="0"/>
              <a:t>Impact </a:t>
            </a:r>
            <a:r>
              <a:rPr sz="3200" spc="290" dirty="0"/>
              <a:t>Assessment </a:t>
            </a:r>
            <a:r>
              <a:rPr sz="3200" spc="335" dirty="0"/>
              <a:t>of </a:t>
            </a:r>
            <a:r>
              <a:rPr sz="3200" spc="240" dirty="0"/>
              <a:t>Science</a:t>
            </a:r>
            <a:r>
              <a:rPr sz="3200" spc="204" dirty="0"/>
              <a:t> </a:t>
            </a:r>
            <a:r>
              <a:rPr sz="3200" spc="305" dirty="0"/>
              <a:t>through</a:t>
            </a:r>
            <a:endParaRPr sz="3200"/>
          </a:p>
          <a:p>
            <a:pPr marL="12700">
              <a:lnSpc>
                <a:spcPts val="3650"/>
              </a:lnSpc>
            </a:pPr>
            <a:r>
              <a:rPr sz="3200" spc="275" dirty="0"/>
              <a:t>Innovation </a:t>
            </a:r>
            <a:r>
              <a:rPr sz="3200" spc="345" dirty="0"/>
              <a:t>&amp; </a:t>
            </a:r>
            <a:r>
              <a:rPr sz="3200" spc="300" dirty="0"/>
              <a:t>Enterprise </a:t>
            </a:r>
            <a:r>
              <a:rPr sz="3200" spc="-660" dirty="0"/>
              <a:t>( </a:t>
            </a:r>
            <a:r>
              <a:rPr sz="3200" spc="30" dirty="0"/>
              <a:t>I&amp;E)</a:t>
            </a:r>
            <a:r>
              <a:rPr sz="3200" spc="-90" dirty="0"/>
              <a:t> </a:t>
            </a:r>
            <a:r>
              <a:rPr sz="3200" spc="290" dirty="0"/>
              <a:t>Development</a:t>
            </a:r>
            <a:endParaRPr sz="3200"/>
          </a:p>
        </p:txBody>
      </p:sp>
      <p:sp>
        <p:nvSpPr>
          <p:cNvPr id="3" name="object 3"/>
          <p:cNvSpPr/>
          <p:nvPr/>
        </p:nvSpPr>
        <p:spPr>
          <a:xfrm>
            <a:off x="466344" y="1426463"/>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10733023" y="6545681"/>
            <a:ext cx="1327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615187" y="6549338"/>
            <a:ext cx="1027430" cy="238125"/>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a:t>
            </a:r>
            <a:r>
              <a:rPr kumimoji="0" sz="1400" b="0" i="0" u="none" strike="noStrike" kern="1200" cap="none" spc="-165" normalizeH="0" baseline="0" noProof="0" dirty="0">
                <a:ln>
                  <a:noFill/>
                </a:ln>
                <a:solidFill>
                  <a:srgbClr val="FFFFFF"/>
                </a:solidFill>
                <a:effectLst/>
                <a:uLnTx/>
                <a:uFillTx/>
                <a:latin typeface="Verdana"/>
                <a:ea typeface="+mn-ea"/>
                <a:cs typeface="Verdana"/>
              </a:rPr>
              <a:t> </a:t>
            </a:r>
            <a:r>
              <a:rPr kumimoji="0" sz="1400" b="0" i="0" u="none" strike="noStrike" kern="1200" cap="none" spc="-55" normalizeH="0" baseline="0" noProof="0" dirty="0">
                <a:ln>
                  <a:noFill/>
                </a:ln>
                <a:solidFill>
                  <a:srgbClr val="FFFFFF"/>
                </a:solidFill>
                <a:effectLst/>
                <a:uLnTx/>
                <a:uFillTx/>
                <a:latin typeface="Verdana"/>
                <a:ea typeface="+mn-ea"/>
                <a:cs typeface="Verdana"/>
              </a:rPr>
              <a:t>NRF</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txBox="1"/>
          <p:nvPr/>
        </p:nvSpPr>
        <p:spPr>
          <a:xfrm>
            <a:off x="608177" y="1579203"/>
            <a:ext cx="10734675" cy="4500245"/>
          </a:xfrm>
          <a:prstGeom prst="rect">
            <a:avLst/>
          </a:prstGeom>
        </p:spPr>
        <p:txBody>
          <a:bodyPr vert="horz" wrap="square" lIns="0" tIns="168275" rIns="0" bIns="0" rtlCol="0">
            <a:spAutoFit/>
          </a:bodyPr>
          <a:lstStyle/>
          <a:p>
            <a:pPr marL="12700" marR="0" lvl="0" indent="0" algn="l" defTabSz="914400" rtl="0" eaLnBrk="1" fontAlgn="auto" latinLnBrk="0" hangingPunct="1">
              <a:lnSpc>
                <a:spcPct val="100000"/>
              </a:lnSpc>
              <a:spcBef>
                <a:spcPts val="1325"/>
              </a:spcBef>
              <a:spcAft>
                <a:spcPts val="0"/>
              </a:spcAft>
              <a:buClrTx/>
              <a:buSzTx/>
              <a:buFontTx/>
              <a:buNone/>
              <a:tabLst/>
              <a:defRPr/>
            </a:pPr>
            <a:r>
              <a:rPr kumimoji="0" sz="1900" b="1" i="0" u="none" strike="noStrike" kern="1200" cap="none" spc="60" normalizeH="0" baseline="0" noProof="0" dirty="0">
                <a:ln>
                  <a:noFill/>
                </a:ln>
                <a:solidFill>
                  <a:srgbClr val="30859B"/>
                </a:solidFill>
                <a:effectLst/>
                <a:uLnTx/>
                <a:uFillTx/>
                <a:latin typeface="Arial"/>
                <a:ea typeface="+mn-ea"/>
                <a:cs typeface="Arial"/>
              </a:rPr>
              <a:t>Vibrant </a:t>
            </a:r>
            <a:r>
              <a:rPr kumimoji="0" sz="1900" b="1" i="0" u="none" strike="noStrike" kern="1200" cap="none" spc="70" normalizeH="0" baseline="0" noProof="0" dirty="0">
                <a:ln>
                  <a:noFill/>
                </a:ln>
                <a:solidFill>
                  <a:srgbClr val="30859B"/>
                </a:solidFill>
                <a:effectLst/>
                <a:uLnTx/>
                <a:uFillTx/>
                <a:latin typeface="Arial"/>
                <a:ea typeface="+mn-ea"/>
                <a:cs typeface="Arial"/>
              </a:rPr>
              <a:t>and </a:t>
            </a:r>
            <a:r>
              <a:rPr kumimoji="0" sz="1900" b="1" i="0" u="none" strike="noStrike" kern="1200" cap="none" spc="55" normalizeH="0" baseline="0" noProof="0" dirty="0">
                <a:ln>
                  <a:noFill/>
                </a:ln>
                <a:solidFill>
                  <a:srgbClr val="30859B"/>
                </a:solidFill>
                <a:effectLst/>
                <a:uLnTx/>
                <a:uFillTx/>
                <a:latin typeface="Arial"/>
                <a:ea typeface="+mn-ea"/>
                <a:cs typeface="Arial"/>
              </a:rPr>
              <a:t>dynamic </a:t>
            </a:r>
            <a:r>
              <a:rPr kumimoji="0" sz="1900" b="1" i="0" u="none" strike="noStrike" kern="1200" cap="none" spc="50" normalizeH="0" baseline="0" noProof="0" dirty="0">
                <a:ln>
                  <a:noFill/>
                </a:ln>
                <a:solidFill>
                  <a:srgbClr val="30859B"/>
                </a:solidFill>
                <a:effectLst/>
                <a:uLnTx/>
                <a:uFillTx/>
                <a:latin typeface="Arial"/>
                <a:ea typeface="+mn-ea"/>
                <a:cs typeface="Arial"/>
              </a:rPr>
              <a:t>I&amp;E</a:t>
            </a:r>
            <a:r>
              <a:rPr kumimoji="0" sz="1900" b="1" i="0" u="none" strike="noStrike" kern="1200" cap="none" spc="55" normalizeH="0" baseline="0" noProof="0" dirty="0">
                <a:ln>
                  <a:noFill/>
                </a:ln>
                <a:solidFill>
                  <a:srgbClr val="30859B"/>
                </a:solidFill>
                <a:effectLst/>
                <a:uLnTx/>
                <a:uFillTx/>
                <a:latin typeface="Arial"/>
                <a:ea typeface="+mn-ea"/>
                <a:cs typeface="Arial"/>
              </a:rPr>
              <a:t> </a:t>
            </a:r>
            <a:r>
              <a:rPr kumimoji="0" sz="1900" b="1" i="0" u="none" strike="noStrike" kern="1200" cap="none" spc="25" normalizeH="0" baseline="0" noProof="0" dirty="0">
                <a:ln>
                  <a:noFill/>
                </a:ln>
                <a:solidFill>
                  <a:srgbClr val="30859B"/>
                </a:solidFill>
                <a:effectLst/>
                <a:uLnTx/>
                <a:uFillTx/>
                <a:latin typeface="Arial"/>
                <a:ea typeface="+mn-ea"/>
                <a:cs typeface="Arial"/>
              </a:rPr>
              <a:t>ecosystem</a:t>
            </a:r>
            <a:endParaRPr kumimoji="0" sz="1900" b="0" i="0" u="none" strike="noStrike" kern="1200" cap="none" spc="0" normalizeH="0" baseline="0" noProof="0">
              <a:ln>
                <a:noFill/>
              </a:ln>
              <a:solidFill>
                <a:prstClr val="black"/>
              </a:solidFill>
              <a:effectLst/>
              <a:uLnTx/>
              <a:uFillTx/>
              <a:latin typeface="Arial"/>
              <a:ea typeface="+mn-ea"/>
              <a:cs typeface="Arial"/>
            </a:endParaRPr>
          </a:p>
          <a:p>
            <a:pPr marL="283845" marR="0" lvl="0" indent="-271780" algn="just" defTabSz="914400" rtl="0" eaLnBrk="1" fontAlgn="auto" latinLnBrk="0" hangingPunct="1">
              <a:lnSpc>
                <a:spcPct val="100000"/>
              </a:lnSpc>
              <a:spcBef>
                <a:spcPts val="1110"/>
              </a:spcBef>
              <a:spcAft>
                <a:spcPts val="0"/>
              </a:spcAft>
              <a:buClrTx/>
              <a:buSzTx/>
              <a:buFont typeface="Arial"/>
              <a:buChar char="•"/>
              <a:tabLst>
                <a:tab pos="284480" algn="l"/>
              </a:tabLst>
              <a:defRPr/>
            </a:pPr>
            <a:r>
              <a:rPr kumimoji="0" sz="1700" b="0" i="0" u="none" strike="noStrike" kern="1200" cap="none" spc="-25" normalizeH="0" baseline="0" noProof="0" dirty="0">
                <a:ln>
                  <a:noFill/>
                </a:ln>
                <a:solidFill>
                  <a:srgbClr val="FFFFFF"/>
                </a:solidFill>
                <a:effectLst/>
                <a:uLnTx/>
                <a:uFillTx/>
                <a:latin typeface="Verdana"/>
                <a:ea typeface="+mn-ea"/>
                <a:cs typeface="Verdana"/>
              </a:rPr>
              <a:t>Singapore </a:t>
            </a:r>
            <a:r>
              <a:rPr kumimoji="0" sz="1700" b="0" i="0" u="none" strike="noStrike" kern="1200" cap="none" spc="-80" normalizeH="0" baseline="0" noProof="0" dirty="0">
                <a:ln>
                  <a:noFill/>
                </a:ln>
                <a:solidFill>
                  <a:srgbClr val="FFFFFF"/>
                </a:solidFill>
                <a:effectLst/>
                <a:uLnTx/>
                <a:uFillTx/>
                <a:latin typeface="Verdana"/>
                <a:ea typeface="+mn-ea"/>
                <a:cs typeface="Verdana"/>
              </a:rPr>
              <a:t>has </a:t>
            </a:r>
            <a:r>
              <a:rPr kumimoji="0" sz="1700" b="0" i="0" u="none" strike="noStrike" kern="1200" cap="none" spc="-110" normalizeH="0" baseline="0" noProof="0" dirty="0">
                <a:ln>
                  <a:noFill/>
                </a:ln>
                <a:solidFill>
                  <a:srgbClr val="FFFFFF"/>
                </a:solidFill>
                <a:effectLst/>
                <a:uLnTx/>
                <a:uFillTx/>
                <a:latin typeface="Verdana"/>
                <a:ea typeface="+mn-ea"/>
                <a:cs typeface="Verdana"/>
              </a:rPr>
              <a:t>a </a:t>
            </a:r>
            <a:r>
              <a:rPr kumimoji="0" sz="1700" b="0" i="0" u="none" strike="noStrike" kern="1200" cap="none" spc="-55" normalizeH="0" baseline="0" noProof="0" dirty="0">
                <a:ln>
                  <a:noFill/>
                </a:ln>
                <a:solidFill>
                  <a:srgbClr val="FFFFFF"/>
                </a:solidFill>
                <a:effectLst/>
                <a:uLnTx/>
                <a:uFillTx/>
                <a:latin typeface="Verdana"/>
                <a:ea typeface="+mn-ea"/>
                <a:cs typeface="Verdana"/>
              </a:rPr>
              <a:t>vibrant </a:t>
            </a:r>
            <a:r>
              <a:rPr kumimoji="0" sz="1700" b="0" i="0" u="none" strike="noStrike" kern="1200" cap="none" spc="-30" normalizeH="0" baseline="0" noProof="0" dirty="0">
                <a:ln>
                  <a:noFill/>
                </a:ln>
                <a:solidFill>
                  <a:srgbClr val="FFFFFF"/>
                </a:solidFill>
                <a:effectLst/>
                <a:uLnTx/>
                <a:uFillTx/>
                <a:latin typeface="Verdana"/>
                <a:ea typeface="+mn-ea"/>
                <a:cs typeface="Verdana"/>
              </a:rPr>
              <a:t>and </a:t>
            </a:r>
            <a:r>
              <a:rPr kumimoji="0" sz="1700" b="0" i="0" u="none" strike="noStrike" kern="1200" cap="none" spc="-45" normalizeH="0" baseline="0" noProof="0" dirty="0">
                <a:ln>
                  <a:noFill/>
                </a:ln>
                <a:solidFill>
                  <a:srgbClr val="FFFFFF"/>
                </a:solidFill>
                <a:effectLst/>
                <a:uLnTx/>
                <a:uFillTx/>
                <a:latin typeface="Verdana"/>
                <a:ea typeface="+mn-ea"/>
                <a:cs typeface="Verdana"/>
              </a:rPr>
              <a:t>dynamic </a:t>
            </a:r>
            <a:r>
              <a:rPr kumimoji="0" sz="1700" b="0" i="0" u="none" strike="noStrike" kern="1200" cap="none" spc="-105" normalizeH="0" baseline="0" noProof="0" dirty="0">
                <a:ln>
                  <a:noFill/>
                </a:ln>
                <a:solidFill>
                  <a:srgbClr val="FFFFFF"/>
                </a:solidFill>
                <a:effectLst/>
                <a:uLnTx/>
                <a:uFillTx/>
                <a:latin typeface="Verdana"/>
                <a:ea typeface="+mn-ea"/>
                <a:cs typeface="Verdana"/>
              </a:rPr>
              <a:t>I&amp;E</a:t>
            </a:r>
            <a:r>
              <a:rPr kumimoji="0" sz="1700" b="0" i="0" u="none" strike="noStrike" kern="1200" cap="none" spc="-155" normalizeH="0" baseline="0" noProof="0" dirty="0">
                <a:ln>
                  <a:noFill/>
                </a:ln>
                <a:solidFill>
                  <a:srgbClr val="FFFFFF"/>
                </a:solidFill>
                <a:effectLst/>
                <a:uLnTx/>
                <a:uFillTx/>
                <a:latin typeface="Verdana"/>
                <a:ea typeface="+mn-ea"/>
                <a:cs typeface="Verdana"/>
              </a:rPr>
              <a:t> </a:t>
            </a:r>
            <a:r>
              <a:rPr kumimoji="0" sz="1700" b="0" i="0" u="none" strike="noStrike" kern="1200" cap="none" spc="-55" normalizeH="0" baseline="0" noProof="0" dirty="0">
                <a:ln>
                  <a:noFill/>
                </a:ln>
                <a:solidFill>
                  <a:srgbClr val="FFFFFF"/>
                </a:solidFill>
                <a:effectLst/>
                <a:uLnTx/>
                <a:uFillTx/>
                <a:latin typeface="Verdana"/>
                <a:ea typeface="+mn-ea"/>
                <a:cs typeface="Verdana"/>
              </a:rPr>
              <a:t>ecosystem.</a:t>
            </a:r>
            <a:endParaRPr kumimoji="0" sz="1700" b="0" i="0" u="none" strike="noStrike" kern="1200" cap="none" spc="0" normalizeH="0" baseline="0" noProof="0">
              <a:ln>
                <a:noFill/>
              </a:ln>
              <a:solidFill>
                <a:prstClr val="black"/>
              </a:solidFill>
              <a:effectLst/>
              <a:uLnTx/>
              <a:uFillTx/>
              <a:latin typeface="Verdana"/>
              <a:ea typeface="+mn-ea"/>
              <a:cs typeface="Verdana"/>
            </a:endParaRPr>
          </a:p>
          <a:p>
            <a:pPr marL="283845" marR="8255" lvl="0" indent="-271780" algn="just" defTabSz="914400" rtl="0" eaLnBrk="1" fontAlgn="auto" latinLnBrk="0" hangingPunct="1">
              <a:lnSpc>
                <a:spcPct val="105400"/>
              </a:lnSpc>
              <a:spcBef>
                <a:spcPts val="994"/>
              </a:spcBef>
              <a:spcAft>
                <a:spcPts val="0"/>
              </a:spcAft>
              <a:buClrTx/>
              <a:buSzTx/>
              <a:buFont typeface="Arial"/>
              <a:buChar char="•"/>
              <a:tabLst>
                <a:tab pos="284480" algn="l"/>
              </a:tabLst>
              <a:defRPr/>
            </a:pPr>
            <a:r>
              <a:rPr kumimoji="0" sz="1700" b="0" i="0" u="none" strike="noStrike" kern="1200" cap="none" spc="-45" normalizeH="0" baseline="0" noProof="0" dirty="0">
                <a:ln>
                  <a:noFill/>
                </a:ln>
                <a:solidFill>
                  <a:srgbClr val="FFFFFF"/>
                </a:solidFill>
                <a:effectLst/>
                <a:uLnTx/>
                <a:uFillTx/>
                <a:latin typeface="Verdana"/>
                <a:ea typeface="+mn-ea"/>
                <a:cs typeface="Verdana"/>
              </a:rPr>
              <a:t>Since </a:t>
            </a:r>
            <a:r>
              <a:rPr kumimoji="0" sz="1700" b="0" i="0" u="none" strike="noStrike" kern="1200" cap="none" spc="-80" normalizeH="0" baseline="0" noProof="0" dirty="0">
                <a:ln>
                  <a:noFill/>
                </a:ln>
                <a:solidFill>
                  <a:srgbClr val="FFFFFF"/>
                </a:solidFill>
                <a:effectLst/>
                <a:uLnTx/>
                <a:uFillTx/>
                <a:latin typeface="Verdana"/>
                <a:ea typeface="+mn-ea"/>
                <a:cs typeface="Verdana"/>
              </a:rPr>
              <a:t>2014, </a:t>
            </a:r>
            <a:r>
              <a:rPr kumimoji="0" sz="1700" b="0" i="0" u="none" strike="noStrike" kern="1200" cap="none" spc="-25" normalizeH="0" baseline="0" noProof="0" dirty="0">
                <a:ln>
                  <a:noFill/>
                </a:ln>
                <a:solidFill>
                  <a:srgbClr val="FFFFFF"/>
                </a:solidFill>
                <a:effectLst/>
                <a:uLnTx/>
                <a:uFillTx/>
                <a:latin typeface="Verdana"/>
                <a:ea typeface="+mn-ea"/>
                <a:cs typeface="Verdana"/>
              </a:rPr>
              <a:t>Singapore </a:t>
            </a:r>
            <a:r>
              <a:rPr kumimoji="0" sz="1700" b="0" i="0" u="none" strike="noStrike" kern="1200" cap="none" spc="-80" normalizeH="0" baseline="0" noProof="0" dirty="0">
                <a:ln>
                  <a:noFill/>
                </a:ln>
                <a:solidFill>
                  <a:srgbClr val="FFFFFF"/>
                </a:solidFill>
                <a:effectLst/>
                <a:uLnTx/>
                <a:uFillTx/>
                <a:latin typeface="Verdana"/>
                <a:ea typeface="+mn-ea"/>
                <a:cs typeface="Verdana"/>
              </a:rPr>
              <a:t>has </a:t>
            </a:r>
            <a:r>
              <a:rPr kumimoji="0" sz="1700" b="0" i="0" u="none" strike="noStrike" kern="1200" cap="none" spc="-40" normalizeH="0" baseline="0" noProof="0" dirty="0">
                <a:ln>
                  <a:noFill/>
                </a:ln>
                <a:solidFill>
                  <a:srgbClr val="FFFFFF"/>
                </a:solidFill>
                <a:effectLst/>
                <a:uLnTx/>
                <a:uFillTx/>
                <a:latin typeface="Verdana"/>
                <a:ea typeface="+mn-ea"/>
                <a:cs typeface="Verdana"/>
              </a:rPr>
              <a:t>maintained </a:t>
            </a:r>
            <a:r>
              <a:rPr kumimoji="0" sz="1700" b="0" i="0" u="none" strike="noStrike" kern="1200" cap="none" spc="-75" normalizeH="0" baseline="0" noProof="0" dirty="0">
                <a:ln>
                  <a:noFill/>
                </a:ln>
                <a:solidFill>
                  <a:srgbClr val="FFFFFF"/>
                </a:solidFill>
                <a:effectLst/>
                <a:uLnTx/>
                <a:uFillTx/>
                <a:latin typeface="Verdana"/>
                <a:ea typeface="+mn-ea"/>
                <a:cs typeface="Verdana"/>
              </a:rPr>
              <a:t>its </a:t>
            </a:r>
            <a:r>
              <a:rPr kumimoji="0" sz="1700" b="0" i="0" u="none" strike="noStrike" kern="1200" cap="none" spc="-15" normalizeH="0" baseline="0" noProof="0" dirty="0">
                <a:ln>
                  <a:noFill/>
                </a:ln>
                <a:solidFill>
                  <a:srgbClr val="FFFFFF"/>
                </a:solidFill>
                <a:effectLst/>
                <a:uLnTx/>
                <a:uFillTx/>
                <a:latin typeface="Verdana"/>
                <a:ea typeface="+mn-ea"/>
                <a:cs typeface="Verdana"/>
              </a:rPr>
              <a:t>position </a:t>
            </a:r>
            <a:r>
              <a:rPr kumimoji="0" sz="1700" b="0" i="0" u="none" strike="noStrike" kern="1200" cap="none" spc="-100" normalizeH="0" baseline="0" noProof="0" dirty="0">
                <a:ln>
                  <a:noFill/>
                </a:ln>
                <a:solidFill>
                  <a:srgbClr val="FFFFFF"/>
                </a:solidFill>
                <a:effectLst/>
                <a:uLnTx/>
                <a:uFillTx/>
                <a:latin typeface="Verdana"/>
                <a:ea typeface="+mn-ea"/>
                <a:cs typeface="Verdana"/>
              </a:rPr>
              <a:t>as </a:t>
            </a:r>
            <a:r>
              <a:rPr kumimoji="0" sz="1700" b="0" i="0" u="none" strike="noStrike" kern="1200" cap="none" spc="-65" normalizeH="0" baseline="0" noProof="0" dirty="0">
                <a:ln>
                  <a:noFill/>
                </a:ln>
                <a:solidFill>
                  <a:srgbClr val="FFFFFF"/>
                </a:solidFill>
                <a:effectLst/>
                <a:uLnTx/>
                <a:uFillTx/>
                <a:latin typeface="Verdana"/>
                <a:ea typeface="+mn-ea"/>
                <a:cs typeface="Verdana"/>
              </a:rPr>
              <a:t>the </a:t>
            </a:r>
            <a:r>
              <a:rPr kumimoji="0" sz="1700" b="0" i="0" u="none" strike="noStrike" kern="1200" cap="none" spc="-20" normalizeH="0" baseline="0" noProof="0" dirty="0">
                <a:ln>
                  <a:noFill/>
                </a:ln>
                <a:solidFill>
                  <a:srgbClr val="FFFFFF"/>
                </a:solidFill>
                <a:effectLst/>
                <a:uLnTx/>
                <a:uFillTx/>
                <a:latin typeface="Verdana"/>
                <a:ea typeface="+mn-ea"/>
                <a:cs typeface="Verdana"/>
              </a:rPr>
              <a:t>top </a:t>
            </a:r>
            <a:r>
              <a:rPr kumimoji="0" sz="1700" b="0" i="0" u="none" strike="noStrike" kern="1200" cap="none" spc="-55" normalizeH="0" baseline="0" noProof="0" dirty="0">
                <a:ln>
                  <a:noFill/>
                </a:ln>
                <a:solidFill>
                  <a:srgbClr val="FFFFFF"/>
                </a:solidFill>
                <a:effectLst/>
                <a:uLnTx/>
                <a:uFillTx/>
                <a:latin typeface="Verdana"/>
                <a:ea typeface="+mn-ea"/>
                <a:cs typeface="Verdana"/>
              </a:rPr>
              <a:t>innovative </a:t>
            </a:r>
            <a:r>
              <a:rPr kumimoji="0" sz="1700" b="0" i="0" u="none" strike="noStrike" kern="1200" cap="none" spc="-45" normalizeH="0" baseline="0" noProof="0" dirty="0">
                <a:ln>
                  <a:noFill/>
                </a:ln>
                <a:solidFill>
                  <a:srgbClr val="FFFFFF"/>
                </a:solidFill>
                <a:effectLst/>
                <a:uLnTx/>
                <a:uFillTx/>
                <a:latin typeface="Verdana"/>
                <a:ea typeface="+mn-ea"/>
                <a:cs typeface="Verdana"/>
              </a:rPr>
              <a:t>nation </a:t>
            </a:r>
            <a:r>
              <a:rPr kumimoji="0" sz="1700" b="0" i="0" u="none" strike="noStrike" kern="1200" cap="none" spc="-40" normalizeH="0" baseline="0" noProof="0" dirty="0">
                <a:ln>
                  <a:noFill/>
                </a:ln>
                <a:solidFill>
                  <a:srgbClr val="FFFFFF"/>
                </a:solidFill>
                <a:effectLst/>
                <a:uLnTx/>
                <a:uFillTx/>
                <a:latin typeface="Verdana"/>
                <a:ea typeface="+mn-ea"/>
                <a:cs typeface="Verdana"/>
              </a:rPr>
              <a:t>in </a:t>
            </a:r>
            <a:r>
              <a:rPr kumimoji="0" sz="1700" b="0" i="0" u="none" strike="noStrike" kern="1200" cap="none" spc="-25" normalizeH="0" baseline="0" noProof="0" dirty="0">
                <a:ln>
                  <a:noFill/>
                </a:ln>
                <a:solidFill>
                  <a:srgbClr val="FFFFFF"/>
                </a:solidFill>
                <a:effectLst/>
                <a:uLnTx/>
                <a:uFillTx/>
                <a:latin typeface="Verdana"/>
                <a:ea typeface="+mn-ea"/>
                <a:cs typeface="Verdana"/>
              </a:rPr>
              <a:t>Asia </a:t>
            </a:r>
            <a:r>
              <a:rPr kumimoji="0" sz="1700" b="0" i="0" u="none" strike="noStrike" kern="1200" cap="none" spc="-35" normalizeH="0" baseline="0" noProof="0" dirty="0">
                <a:ln>
                  <a:noFill/>
                </a:ln>
                <a:solidFill>
                  <a:srgbClr val="FFFFFF"/>
                </a:solidFill>
                <a:effectLst/>
                <a:uLnTx/>
                <a:uFillTx/>
                <a:latin typeface="Verdana"/>
                <a:ea typeface="+mn-ea"/>
                <a:cs typeface="Verdana"/>
              </a:rPr>
              <a:t>Pacific </a:t>
            </a:r>
            <a:r>
              <a:rPr kumimoji="0" sz="1700" b="0" i="0" u="none" strike="noStrike" kern="1200" cap="none" spc="-25" normalizeH="0" baseline="0" noProof="0" dirty="0">
                <a:ln>
                  <a:noFill/>
                </a:ln>
                <a:solidFill>
                  <a:srgbClr val="FFFFFF"/>
                </a:solidFill>
                <a:effectLst/>
                <a:uLnTx/>
                <a:uFillTx/>
                <a:latin typeface="Verdana"/>
                <a:ea typeface="+mn-ea"/>
                <a:cs typeface="Verdana"/>
              </a:rPr>
              <a:t>on </a:t>
            </a:r>
            <a:r>
              <a:rPr kumimoji="0" sz="1700" b="0" i="0" u="none" strike="noStrike" kern="1200" cap="none" spc="-65" normalizeH="0" baseline="0" noProof="0" dirty="0">
                <a:ln>
                  <a:noFill/>
                </a:ln>
                <a:solidFill>
                  <a:srgbClr val="FFFFFF"/>
                </a:solidFill>
                <a:effectLst/>
                <a:uLnTx/>
                <a:uFillTx/>
                <a:latin typeface="Verdana"/>
                <a:ea typeface="+mn-ea"/>
                <a:cs typeface="Verdana"/>
              </a:rPr>
              <a:t>the  </a:t>
            </a:r>
            <a:r>
              <a:rPr kumimoji="0" sz="1700" b="0" i="0" u="none" strike="noStrike" kern="1200" cap="none" spc="10" normalizeH="0" baseline="0" noProof="0" dirty="0">
                <a:ln>
                  <a:noFill/>
                </a:ln>
                <a:solidFill>
                  <a:srgbClr val="FFFFFF"/>
                </a:solidFill>
                <a:effectLst/>
                <a:uLnTx/>
                <a:uFillTx/>
                <a:latin typeface="Verdana"/>
                <a:ea typeface="+mn-ea"/>
                <a:cs typeface="Verdana"/>
              </a:rPr>
              <a:t>Global </a:t>
            </a:r>
            <a:r>
              <a:rPr kumimoji="0" sz="1700" b="0" i="0" u="none" strike="noStrike" kern="1200" cap="none" spc="-65" normalizeH="0" baseline="0" noProof="0" dirty="0">
                <a:ln>
                  <a:noFill/>
                </a:ln>
                <a:solidFill>
                  <a:srgbClr val="FFFFFF"/>
                </a:solidFill>
                <a:effectLst/>
                <a:uLnTx/>
                <a:uFillTx/>
                <a:latin typeface="Verdana"/>
                <a:ea typeface="+mn-ea"/>
                <a:cs typeface="Verdana"/>
              </a:rPr>
              <a:t>Innovation </a:t>
            </a:r>
            <a:r>
              <a:rPr kumimoji="0" sz="1700" b="0" i="0" u="none" strike="noStrike" kern="1200" cap="none" spc="-90" normalizeH="0" baseline="0" noProof="0" dirty="0">
                <a:ln>
                  <a:noFill/>
                </a:ln>
                <a:solidFill>
                  <a:srgbClr val="FFFFFF"/>
                </a:solidFill>
                <a:effectLst/>
                <a:uLnTx/>
                <a:uFillTx/>
                <a:latin typeface="Verdana"/>
                <a:ea typeface="+mn-ea"/>
                <a:cs typeface="Verdana"/>
              </a:rPr>
              <a:t>Index, </a:t>
            </a:r>
            <a:r>
              <a:rPr kumimoji="0" sz="1700" b="0" i="0" u="none" strike="noStrike" kern="1200" cap="none" spc="-65" normalizeH="0" baseline="0" noProof="0" dirty="0">
                <a:ln>
                  <a:noFill/>
                </a:ln>
                <a:solidFill>
                  <a:srgbClr val="FFFFFF"/>
                </a:solidFill>
                <a:effectLst/>
                <a:uLnTx/>
                <a:uFillTx/>
                <a:latin typeface="Verdana"/>
                <a:ea typeface="+mn-ea"/>
                <a:cs typeface="Verdana"/>
              </a:rPr>
              <a:t>an </a:t>
            </a:r>
            <a:r>
              <a:rPr kumimoji="0" sz="1700" b="0" i="0" u="none" strike="noStrike" kern="1200" cap="none" spc="-55" normalizeH="0" baseline="0" noProof="0" dirty="0">
                <a:ln>
                  <a:noFill/>
                </a:ln>
                <a:solidFill>
                  <a:srgbClr val="FFFFFF"/>
                </a:solidFill>
                <a:effectLst/>
                <a:uLnTx/>
                <a:uFillTx/>
                <a:latin typeface="Verdana"/>
                <a:ea typeface="+mn-ea"/>
                <a:cs typeface="Verdana"/>
              </a:rPr>
              <a:t>annual </a:t>
            </a:r>
            <a:r>
              <a:rPr kumimoji="0" sz="1700" b="0" i="0" u="none" strike="noStrike" kern="1200" cap="none" spc="-50" normalizeH="0" baseline="0" noProof="0" dirty="0">
                <a:ln>
                  <a:noFill/>
                </a:ln>
                <a:solidFill>
                  <a:srgbClr val="FFFFFF"/>
                </a:solidFill>
                <a:effectLst/>
                <a:uLnTx/>
                <a:uFillTx/>
                <a:latin typeface="Verdana"/>
                <a:ea typeface="+mn-ea"/>
                <a:cs typeface="Verdana"/>
              </a:rPr>
              <a:t>ranking </a:t>
            </a:r>
            <a:r>
              <a:rPr kumimoji="0" sz="1700" b="0" i="0" u="none" strike="noStrike" kern="1200" cap="none" spc="-25" normalizeH="0" baseline="0" noProof="0" dirty="0">
                <a:ln>
                  <a:noFill/>
                </a:ln>
                <a:solidFill>
                  <a:srgbClr val="FFFFFF"/>
                </a:solidFill>
                <a:effectLst/>
                <a:uLnTx/>
                <a:uFillTx/>
                <a:latin typeface="Verdana"/>
                <a:ea typeface="+mn-ea"/>
                <a:cs typeface="Verdana"/>
              </a:rPr>
              <a:t>of </a:t>
            </a:r>
            <a:r>
              <a:rPr kumimoji="0" sz="1700" b="0" i="0" u="none" strike="noStrike" kern="1200" cap="none" spc="-65" normalizeH="0" baseline="0" noProof="0" dirty="0">
                <a:ln>
                  <a:noFill/>
                </a:ln>
                <a:solidFill>
                  <a:srgbClr val="FFFFFF"/>
                </a:solidFill>
                <a:effectLst/>
                <a:uLnTx/>
                <a:uFillTx/>
                <a:latin typeface="Verdana"/>
                <a:ea typeface="+mn-ea"/>
                <a:cs typeface="Verdana"/>
              </a:rPr>
              <a:t>130 </a:t>
            </a:r>
            <a:r>
              <a:rPr kumimoji="0" sz="1700" b="0" i="0" u="none" strike="noStrike" kern="1200" cap="none" spc="-15" normalizeH="0" baseline="0" noProof="0" dirty="0">
                <a:ln>
                  <a:noFill/>
                </a:ln>
                <a:solidFill>
                  <a:srgbClr val="FFFFFF"/>
                </a:solidFill>
                <a:effectLst/>
                <a:uLnTx/>
                <a:uFillTx/>
                <a:latin typeface="Verdana"/>
                <a:ea typeface="+mn-ea"/>
                <a:cs typeface="Verdana"/>
              </a:rPr>
              <a:t>economies </a:t>
            </a:r>
            <a:r>
              <a:rPr kumimoji="0" sz="1700" b="0" i="0" u="none" strike="noStrike" kern="1200" cap="none" spc="5" normalizeH="0" baseline="0" noProof="0" dirty="0">
                <a:ln>
                  <a:noFill/>
                </a:ln>
                <a:solidFill>
                  <a:srgbClr val="FFFFFF"/>
                </a:solidFill>
                <a:effectLst/>
                <a:uLnTx/>
                <a:uFillTx/>
                <a:latin typeface="Verdana"/>
                <a:ea typeface="+mn-ea"/>
                <a:cs typeface="Verdana"/>
              </a:rPr>
              <a:t>compiled </a:t>
            </a:r>
            <a:r>
              <a:rPr kumimoji="0" sz="1700" b="0" i="0" u="none" strike="noStrike" kern="1200" cap="none" spc="-55" normalizeH="0" baseline="0" noProof="0" dirty="0">
                <a:ln>
                  <a:noFill/>
                </a:ln>
                <a:solidFill>
                  <a:srgbClr val="FFFFFF"/>
                </a:solidFill>
                <a:effectLst/>
                <a:uLnTx/>
                <a:uFillTx/>
                <a:latin typeface="Verdana"/>
                <a:ea typeface="+mn-ea"/>
                <a:cs typeface="Verdana"/>
              </a:rPr>
              <a:t>by </a:t>
            </a:r>
            <a:r>
              <a:rPr kumimoji="0" sz="1700" b="0" i="0" u="none" strike="noStrike" kern="1200" cap="none" spc="-65" normalizeH="0" baseline="0" noProof="0" dirty="0">
                <a:ln>
                  <a:noFill/>
                </a:ln>
                <a:solidFill>
                  <a:srgbClr val="FFFFFF"/>
                </a:solidFill>
                <a:effectLst/>
                <a:uLnTx/>
                <a:uFillTx/>
                <a:latin typeface="Verdana"/>
                <a:ea typeface="+mn-ea"/>
                <a:cs typeface="Verdana"/>
              </a:rPr>
              <a:t>the </a:t>
            </a:r>
            <a:r>
              <a:rPr kumimoji="0" sz="1700" b="0" i="0" u="none" strike="noStrike" kern="1200" cap="none" spc="-10" normalizeH="0" baseline="0" noProof="0" dirty="0">
                <a:ln>
                  <a:noFill/>
                </a:ln>
                <a:solidFill>
                  <a:srgbClr val="FFFFFF"/>
                </a:solidFill>
                <a:effectLst/>
                <a:uLnTx/>
                <a:uFillTx/>
                <a:latin typeface="Verdana"/>
                <a:ea typeface="+mn-ea"/>
                <a:cs typeface="Verdana"/>
              </a:rPr>
              <a:t>World </a:t>
            </a:r>
            <a:r>
              <a:rPr kumimoji="0" sz="1700" b="0" i="0" u="none" strike="noStrike" kern="1200" cap="none" spc="-50" normalizeH="0" baseline="0" noProof="0" dirty="0">
                <a:ln>
                  <a:noFill/>
                </a:ln>
                <a:solidFill>
                  <a:srgbClr val="FFFFFF"/>
                </a:solidFill>
                <a:effectLst/>
                <a:uLnTx/>
                <a:uFillTx/>
                <a:latin typeface="Verdana"/>
                <a:ea typeface="+mn-ea"/>
                <a:cs typeface="Verdana"/>
              </a:rPr>
              <a:t>Intellectual  Property </a:t>
            </a:r>
            <a:r>
              <a:rPr kumimoji="0" sz="1700" b="0" i="0" u="none" strike="noStrike" kern="1200" cap="none" spc="-35" normalizeH="0" baseline="0" noProof="0" dirty="0">
                <a:ln>
                  <a:noFill/>
                </a:ln>
                <a:solidFill>
                  <a:srgbClr val="FFFFFF"/>
                </a:solidFill>
                <a:effectLst/>
                <a:uLnTx/>
                <a:uFillTx/>
                <a:latin typeface="Verdana"/>
                <a:ea typeface="+mn-ea"/>
                <a:cs typeface="Verdana"/>
              </a:rPr>
              <a:t>Organisation, </a:t>
            </a:r>
            <a:r>
              <a:rPr kumimoji="0" sz="1700" b="0" i="0" u="none" strike="noStrike" kern="1200" cap="none" spc="-5" normalizeH="0" baseline="0" noProof="0" dirty="0">
                <a:ln>
                  <a:noFill/>
                </a:ln>
                <a:solidFill>
                  <a:srgbClr val="FFFFFF"/>
                </a:solidFill>
                <a:effectLst/>
                <a:uLnTx/>
                <a:uFillTx/>
                <a:latin typeface="Verdana"/>
                <a:ea typeface="+mn-ea"/>
                <a:cs typeface="Verdana"/>
              </a:rPr>
              <a:t>Cornell </a:t>
            </a:r>
            <a:r>
              <a:rPr kumimoji="0" sz="1700" b="0" i="0" u="none" strike="noStrike" kern="1200" cap="none" spc="-55" normalizeH="0" baseline="0" noProof="0" dirty="0">
                <a:ln>
                  <a:noFill/>
                </a:ln>
                <a:solidFill>
                  <a:srgbClr val="FFFFFF"/>
                </a:solidFill>
                <a:effectLst/>
                <a:uLnTx/>
                <a:uFillTx/>
                <a:latin typeface="Verdana"/>
                <a:ea typeface="+mn-ea"/>
                <a:cs typeface="Verdana"/>
              </a:rPr>
              <a:t>University </a:t>
            </a:r>
            <a:r>
              <a:rPr kumimoji="0" sz="1700" b="0" i="0" u="none" strike="noStrike" kern="1200" cap="none" spc="-30" normalizeH="0" baseline="0" noProof="0" dirty="0">
                <a:ln>
                  <a:noFill/>
                </a:ln>
                <a:solidFill>
                  <a:srgbClr val="FFFFFF"/>
                </a:solidFill>
                <a:effectLst/>
                <a:uLnTx/>
                <a:uFillTx/>
                <a:latin typeface="Verdana"/>
                <a:ea typeface="+mn-ea"/>
                <a:cs typeface="Verdana"/>
              </a:rPr>
              <a:t>and</a:t>
            </a:r>
            <a:r>
              <a:rPr kumimoji="0" sz="1700" b="0" i="0" u="none" strike="noStrike" kern="1200" cap="none" spc="-275" normalizeH="0" baseline="0" noProof="0" dirty="0">
                <a:ln>
                  <a:noFill/>
                </a:ln>
                <a:solidFill>
                  <a:srgbClr val="FFFFFF"/>
                </a:solidFill>
                <a:effectLst/>
                <a:uLnTx/>
                <a:uFillTx/>
                <a:latin typeface="Verdana"/>
                <a:ea typeface="+mn-ea"/>
                <a:cs typeface="Verdana"/>
              </a:rPr>
              <a:t> </a:t>
            </a:r>
            <a:r>
              <a:rPr kumimoji="0" sz="1700" b="0" i="0" u="none" strike="noStrike" kern="1200" cap="none" spc="-70" normalizeH="0" baseline="0" noProof="0" dirty="0">
                <a:ln>
                  <a:noFill/>
                </a:ln>
                <a:solidFill>
                  <a:srgbClr val="FFFFFF"/>
                </a:solidFill>
                <a:effectLst/>
                <a:uLnTx/>
                <a:uFillTx/>
                <a:latin typeface="Verdana"/>
                <a:ea typeface="+mn-ea"/>
                <a:cs typeface="Verdana"/>
              </a:rPr>
              <a:t>INSEAD.</a:t>
            </a:r>
            <a:endParaRPr kumimoji="0" sz="17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105"/>
              </a:spcBef>
              <a:spcAft>
                <a:spcPts val="0"/>
              </a:spcAft>
              <a:buClrTx/>
              <a:buSzTx/>
              <a:buFont typeface="Arial"/>
              <a:buChar char="•"/>
              <a:tabLst>
                <a:tab pos="283845" algn="l"/>
                <a:tab pos="284480" algn="l"/>
              </a:tabLst>
              <a:defRPr/>
            </a:pPr>
            <a:r>
              <a:rPr kumimoji="0" sz="1700" b="0" i="0" u="none" strike="noStrike" kern="1200" cap="none" spc="-70" normalizeH="0" baseline="0" noProof="0" dirty="0">
                <a:ln>
                  <a:noFill/>
                </a:ln>
                <a:solidFill>
                  <a:srgbClr val="FFFFFF"/>
                </a:solidFill>
                <a:effectLst/>
                <a:uLnTx/>
                <a:uFillTx/>
                <a:latin typeface="Verdana"/>
                <a:ea typeface="+mn-ea"/>
                <a:cs typeface="Verdana"/>
              </a:rPr>
              <a:t>Private </a:t>
            </a:r>
            <a:r>
              <a:rPr kumimoji="0" sz="1700" b="0" i="0" u="none" strike="noStrike" kern="1200" cap="none" spc="-40" normalizeH="0" baseline="0" noProof="0" dirty="0">
                <a:ln>
                  <a:noFill/>
                </a:ln>
                <a:solidFill>
                  <a:srgbClr val="FFFFFF"/>
                </a:solidFill>
                <a:effectLst/>
                <a:uLnTx/>
                <a:uFillTx/>
                <a:latin typeface="Verdana"/>
                <a:ea typeface="+mn-ea"/>
                <a:cs typeface="Verdana"/>
              </a:rPr>
              <a:t>sector </a:t>
            </a:r>
            <a:r>
              <a:rPr kumimoji="0" sz="1700" b="0" i="0" u="none" strike="noStrike" kern="1200" cap="none" spc="-50" normalizeH="0" baseline="0" noProof="0" dirty="0">
                <a:ln>
                  <a:noFill/>
                </a:ln>
                <a:solidFill>
                  <a:srgbClr val="FFFFFF"/>
                </a:solidFill>
                <a:effectLst/>
                <a:uLnTx/>
                <a:uFillTx/>
                <a:latin typeface="Verdana"/>
                <a:ea typeface="+mn-ea"/>
                <a:cs typeface="Verdana"/>
              </a:rPr>
              <a:t>R&amp;D </a:t>
            </a:r>
            <a:r>
              <a:rPr kumimoji="0" sz="1700" b="0" i="0" u="none" strike="noStrike" kern="1200" cap="none" spc="-70" normalizeH="0" baseline="0" noProof="0" dirty="0">
                <a:ln>
                  <a:noFill/>
                </a:ln>
                <a:solidFill>
                  <a:srgbClr val="FFFFFF"/>
                </a:solidFill>
                <a:effectLst/>
                <a:uLnTx/>
                <a:uFillTx/>
                <a:latin typeface="Verdana"/>
                <a:ea typeface="+mn-ea"/>
                <a:cs typeface="Verdana"/>
              </a:rPr>
              <a:t>activity </a:t>
            </a:r>
            <a:r>
              <a:rPr kumimoji="0" sz="1700" b="0" i="0" u="none" strike="noStrike" kern="1200" cap="none" spc="-25" normalizeH="0" baseline="0" noProof="0" dirty="0">
                <a:ln>
                  <a:noFill/>
                </a:ln>
                <a:solidFill>
                  <a:srgbClr val="FFFFFF"/>
                </a:solidFill>
                <a:effectLst/>
                <a:uLnTx/>
                <a:uFillTx/>
                <a:latin typeface="Verdana"/>
                <a:ea typeface="+mn-ea"/>
                <a:cs typeface="Verdana"/>
              </a:rPr>
              <a:t>increased </a:t>
            </a:r>
            <a:r>
              <a:rPr kumimoji="0" sz="1700" b="0" i="0" u="none" strike="noStrike" kern="1200" cap="none" spc="-65" normalizeH="0" baseline="0" noProof="0" dirty="0">
                <a:ln>
                  <a:noFill/>
                </a:ln>
                <a:solidFill>
                  <a:srgbClr val="FFFFFF"/>
                </a:solidFill>
                <a:effectLst/>
                <a:uLnTx/>
                <a:uFillTx/>
                <a:latin typeface="Verdana"/>
                <a:ea typeface="+mn-ea"/>
                <a:cs typeface="Verdana"/>
              </a:rPr>
              <a:t>with </a:t>
            </a:r>
            <a:r>
              <a:rPr kumimoji="0" sz="1700" b="0" i="0" u="none" strike="noStrike" kern="1200" cap="none" spc="-55" normalizeH="0" baseline="0" noProof="0" dirty="0">
                <a:ln>
                  <a:noFill/>
                </a:ln>
                <a:solidFill>
                  <a:srgbClr val="FFFFFF"/>
                </a:solidFill>
                <a:effectLst/>
                <a:uLnTx/>
                <a:uFillTx/>
                <a:latin typeface="Verdana"/>
                <a:ea typeface="+mn-ea"/>
                <a:cs typeface="Verdana"/>
              </a:rPr>
              <a:t>annual </a:t>
            </a:r>
            <a:r>
              <a:rPr kumimoji="0" sz="1700" b="0" i="0" u="none" strike="noStrike" kern="1200" cap="none" spc="-40" normalizeH="0" baseline="0" noProof="0" dirty="0">
                <a:ln>
                  <a:noFill/>
                </a:ln>
                <a:solidFill>
                  <a:srgbClr val="FFFFFF"/>
                </a:solidFill>
                <a:effectLst/>
                <a:uLnTx/>
                <a:uFillTx/>
                <a:latin typeface="Verdana"/>
                <a:ea typeface="+mn-ea"/>
                <a:cs typeface="Verdana"/>
              </a:rPr>
              <a:t>business </a:t>
            </a:r>
            <a:r>
              <a:rPr kumimoji="0" sz="1700" b="0" i="0" u="none" strike="noStrike" kern="1200" cap="none" spc="-30" normalizeH="0" baseline="0" noProof="0" dirty="0">
                <a:ln>
                  <a:noFill/>
                </a:ln>
                <a:solidFill>
                  <a:srgbClr val="FFFFFF"/>
                </a:solidFill>
                <a:effectLst/>
                <a:uLnTx/>
                <a:uFillTx/>
                <a:latin typeface="Verdana"/>
                <a:ea typeface="+mn-ea"/>
                <a:cs typeface="Verdana"/>
              </a:rPr>
              <a:t>expenditure </a:t>
            </a:r>
            <a:r>
              <a:rPr kumimoji="0" sz="1700" b="0" i="0" u="none" strike="noStrike" kern="1200" cap="none" spc="-20" normalizeH="0" baseline="0" noProof="0" dirty="0">
                <a:ln>
                  <a:noFill/>
                </a:ln>
                <a:solidFill>
                  <a:srgbClr val="FFFFFF"/>
                </a:solidFill>
                <a:effectLst/>
                <a:uLnTx/>
                <a:uFillTx/>
                <a:latin typeface="Verdana"/>
                <a:ea typeface="+mn-ea"/>
                <a:cs typeface="Verdana"/>
              </a:rPr>
              <a:t>on </a:t>
            </a:r>
            <a:r>
              <a:rPr kumimoji="0" sz="1700" b="0" i="0" u="none" strike="noStrike" kern="1200" cap="none" spc="-50" normalizeH="0" baseline="0" noProof="0" dirty="0">
                <a:ln>
                  <a:noFill/>
                </a:ln>
                <a:solidFill>
                  <a:srgbClr val="FFFFFF"/>
                </a:solidFill>
                <a:effectLst/>
                <a:uLnTx/>
                <a:uFillTx/>
                <a:latin typeface="Verdana"/>
                <a:ea typeface="+mn-ea"/>
                <a:cs typeface="Verdana"/>
              </a:rPr>
              <a:t>R&amp;D </a:t>
            </a:r>
            <a:r>
              <a:rPr kumimoji="0" sz="1700" b="0" i="0" u="none" strike="noStrike" kern="1200" cap="none" spc="-110" normalizeH="0" baseline="0" noProof="0" dirty="0">
                <a:ln>
                  <a:noFill/>
                </a:ln>
                <a:solidFill>
                  <a:srgbClr val="FFFFFF"/>
                </a:solidFill>
                <a:effectLst/>
                <a:uLnTx/>
                <a:uFillTx/>
                <a:latin typeface="Verdana"/>
                <a:ea typeface="+mn-ea"/>
                <a:cs typeface="Verdana"/>
              </a:rPr>
              <a:t>(BERD)</a:t>
            </a:r>
            <a:r>
              <a:rPr kumimoji="0" sz="1700" b="0" i="0" u="none" strike="noStrike" kern="1200" cap="none" spc="280" normalizeH="0" baseline="0" noProof="0" dirty="0">
                <a:ln>
                  <a:noFill/>
                </a:ln>
                <a:solidFill>
                  <a:srgbClr val="FFFFFF"/>
                </a:solidFill>
                <a:effectLst/>
                <a:uLnTx/>
                <a:uFillTx/>
                <a:latin typeface="Verdana"/>
                <a:ea typeface="+mn-ea"/>
                <a:cs typeface="Verdana"/>
              </a:rPr>
              <a:t> </a:t>
            </a:r>
            <a:r>
              <a:rPr kumimoji="0" sz="1700" b="0" i="0" u="none" strike="noStrike" kern="1200" cap="none" spc="-10" normalizeH="0" baseline="0" noProof="0" dirty="0">
                <a:ln>
                  <a:noFill/>
                </a:ln>
                <a:solidFill>
                  <a:srgbClr val="FFFFFF"/>
                </a:solidFill>
                <a:effectLst/>
                <a:uLnTx/>
                <a:uFillTx/>
                <a:latin typeface="Verdana"/>
                <a:ea typeface="+mn-ea"/>
                <a:cs typeface="Verdana"/>
              </a:rPr>
              <a:t>growing</a:t>
            </a:r>
            <a:endParaRPr kumimoji="0" sz="1700" b="0" i="0" u="none" strike="noStrike" kern="1200" cap="none" spc="0" normalizeH="0" baseline="0" noProof="0">
              <a:ln>
                <a:noFill/>
              </a:ln>
              <a:solidFill>
                <a:prstClr val="black"/>
              </a:solidFill>
              <a:effectLst/>
              <a:uLnTx/>
              <a:uFillTx/>
              <a:latin typeface="Verdana"/>
              <a:ea typeface="+mn-ea"/>
              <a:cs typeface="Verdana"/>
            </a:endParaRPr>
          </a:p>
          <a:p>
            <a:pPr marL="283845" marR="0" lvl="0" indent="0" algn="l" defTabSz="914400" rtl="0" eaLnBrk="1" fontAlgn="auto" latinLnBrk="0" hangingPunct="1">
              <a:lnSpc>
                <a:spcPct val="100000"/>
              </a:lnSpc>
              <a:spcBef>
                <a:spcPts val="100"/>
              </a:spcBef>
              <a:spcAft>
                <a:spcPts val="0"/>
              </a:spcAft>
              <a:buClrTx/>
              <a:buSzTx/>
              <a:buFontTx/>
              <a:buNone/>
              <a:tabLst/>
              <a:defRPr/>
            </a:pPr>
            <a:r>
              <a:rPr kumimoji="0" sz="1700" b="0" i="0" u="none" strike="noStrike" kern="1200" cap="none" spc="-60" normalizeH="0" baseline="0" noProof="0" dirty="0">
                <a:ln>
                  <a:noFill/>
                </a:ln>
                <a:solidFill>
                  <a:srgbClr val="FFFFFF"/>
                </a:solidFill>
                <a:effectLst/>
                <a:uLnTx/>
                <a:uFillTx/>
                <a:latin typeface="Verdana"/>
                <a:ea typeface="+mn-ea"/>
                <a:cs typeface="Verdana"/>
              </a:rPr>
              <a:t>from </a:t>
            </a:r>
            <a:r>
              <a:rPr kumimoji="0" sz="1700" b="0" i="0" u="none" strike="noStrike" kern="1200" cap="none" spc="-80" normalizeH="0" baseline="0" noProof="0" dirty="0">
                <a:ln>
                  <a:noFill/>
                </a:ln>
                <a:solidFill>
                  <a:srgbClr val="FFFFFF"/>
                </a:solidFill>
                <a:effectLst/>
                <a:uLnTx/>
                <a:uFillTx/>
                <a:latin typeface="Verdana"/>
                <a:ea typeface="+mn-ea"/>
                <a:cs typeface="Verdana"/>
              </a:rPr>
              <a:t>$1.5B </a:t>
            </a:r>
            <a:r>
              <a:rPr kumimoji="0" sz="1700" b="0" i="0" u="none" strike="noStrike" kern="1200" cap="none" spc="-40" normalizeH="0" baseline="0" noProof="0" dirty="0">
                <a:ln>
                  <a:noFill/>
                </a:ln>
                <a:solidFill>
                  <a:srgbClr val="FFFFFF"/>
                </a:solidFill>
                <a:effectLst/>
                <a:uLnTx/>
                <a:uFillTx/>
                <a:latin typeface="Verdana"/>
                <a:ea typeface="+mn-ea"/>
                <a:cs typeface="Verdana"/>
              </a:rPr>
              <a:t>in </a:t>
            </a:r>
            <a:r>
              <a:rPr kumimoji="0" sz="1700" b="0" i="0" u="none" strike="noStrike" kern="1200" cap="none" spc="-65" normalizeH="0" baseline="0" noProof="0" dirty="0">
                <a:ln>
                  <a:noFill/>
                </a:ln>
                <a:solidFill>
                  <a:srgbClr val="FFFFFF"/>
                </a:solidFill>
                <a:effectLst/>
                <a:uLnTx/>
                <a:uFillTx/>
                <a:latin typeface="Verdana"/>
                <a:ea typeface="+mn-ea"/>
                <a:cs typeface="Verdana"/>
              </a:rPr>
              <a:t>1998 </a:t>
            </a:r>
            <a:r>
              <a:rPr kumimoji="0" sz="1700" b="0" i="0" u="none" strike="noStrike" kern="1200" cap="none" spc="-45" normalizeH="0" baseline="0" noProof="0" dirty="0">
                <a:ln>
                  <a:noFill/>
                </a:ln>
                <a:solidFill>
                  <a:srgbClr val="FFFFFF"/>
                </a:solidFill>
                <a:effectLst/>
                <a:uLnTx/>
                <a:uFillTx/>
                <a:latin typeface="Verdana"/>
                <a:ea typeface="+mn-ea"/>
                <a:cs typeface="Verdana"/>
              </a:rPr>
              <a:t>to </a:t>
            </a:r>
            <a:r>
              <a:rPr kumimoji="0" sz="1700" b="0" i="0" u="none" strike="noStrike" kern="1200" cap="none" spc="-75" normalizeH="0" baseline="0" noProof="0" dirty="0">
                <a:ln>
                  <a:noFill/>
                </a:ln>
                <a:solidFill>
                  <a:srgbClr val="FFFFFF"/>
                </a:solidFill>
                <a:effectLst/>
                <a:uLnTx/>
                <a:uFillTx/>
                <a:latin typeface="Verdana"/>
                <a:ea typeface="+mn-ea"/>
                <a:cs typeface="Verdana"/>
              </a:rPr>
              <a:t>$5.6B </a:t>
            </a:r>
            <a:r>
              <a:rPr kumimoji="0" sz="1700" b="0" i="0" u="none" strike="noStrike" kern="1200" cap="none" spc="-40" normalizeH="0" baseline="0" noProof="0" dirty="0">
                <a:ln>
                  <a:noFill/>
                </a:ln>
                <a:solidFill>
                  <a:srgbClr val="FFFFFF"/>
                </a:solidFill>
                <a:effectLst/>
                <a:uLnTx/>
                <a:uFillTx/>
                <a:latin typeface="Verdana"/>
                <a:ea typeface="+mn-ea"/>
                <a:cs typeface="Verdana"/>
              </a:rPr>
              <a:t>in</a:t>
            </a:r>
            <a:r>
              <a:rPr kumimoji="0" sz="1700" b="0" i="0" u="none" strike="noStrike" kern="1200" cap="none" spc="-120" normalizeH="0" baseline="0" noProof="0" dirty="0">
                <a:ln>
                  <a:noFill/>
                </a:ln>
                <a:solidFill>
                  <a:srgbClr val="FFFFFF"/>
                </a:solidFill>
                <a:effectLst/>
                <a:uLnTx/>
                <a:uFillTx/>
                <a:latin typeface="Verdana"/>
                <a:ea typeface="+mn-ea"/>
                <a:cs typeface="Verdana"/>
              </a:rPr>
              <a:t> </a:t>
            </a:r>
            <a:r>
              <a:rPr kumimoji="0" sz="1700" b="0" i="0" u="none" strike="noStrike" kern="1200" cap="none" spc="-80" normalizeH="0" baseline="0" noProof="0" dirty="0">
                <a:ln>
                  <a:noFill/>
                </a:ln>
                <a:solidFill>
                  <a:srgbClr val="FFFFFF"/>
                </a:solidFill>
                <a:effectLst/>
                <a:uLnTx/>
                <a:uFillTx/>
                <a:latin typeface="Verdana"/>
                <a:ea typeface="+mn-ea"/>
                <a:cs typeface="Verdana"/>
              </a:rPr>
              <a:t>2018.</a:t>
            </a:r>
            <a:endParaRPr kumimoji="0" sz="1700" b="0" i="0" u="none" strike="noStrike" kern="1200" cap="none" spc="0" normalizeH="0" baseline="0" noProof="0">
              <a:ln>
                <a:noFill/>
              </a:ln>
              <a:solidFill>
                <a:prstClr val="black"/>
              </a:solidFill>
              <a:effectLst/>
              <a:uLnTx/>
              <a:uFillTx/>
              <a:latin typeface="Verdana"/>
              <a:ea typeface="+mn-ea"/>
              <a:cs typeface="Verdana"/>
            </a:endParaRPr>
          </a:p>
          <a:p>
            <a:pPr marL="283845" marR="8890" lvl="0" indent="-271780" algn="l" defTabSz="914400" rtl="0" eaLnBrk="1" fontAlgn="auto" latinLnBrk="0" hangingPunct="1">
              <a:lnSpc>
                <a:spcPct val="104900"/>
              </a:lnSpc>
              <a:spcBef>
                <a:spcPts val="1005"/>
              </a:spcBef>
              <a:spcAft>
                <a:spcPts val="0"/>
              </a:spcAft>
              <a:buClrTx/>
              <a:buSzTx/>
              <a:buFont typeface="Arial"/>
              <a:buChar char="•"/>
              <a:tabLst>
                <a:tab pos="283845" algn="l"/>
                <a:tab pos="284480" algn="l"/>
                <a:tab pos="8561070" algn="l"/>
              </a:tabLst>
              <a:defRPr/>
            </a:pPr>
            <a:r>
              <a:rPr kumimoji="0" sz="1700" b="0" i="0" u="none" strike="noStrike" kern="1200" cap="none" spc="5" normalizeH="0" baseline="0" noProof="0" dirty="0">
                <a:ln>
                  <a:noFill/>
                </a:ln>
                <a:solidFill>
                  <a:srgbClr val="FFFFFF"/>
                </a:solidFill>
                <a:effectLst/>
                <a:uLnTx/>
                <a:uFillTx/>
                <a:latin typeface="Verdana"/>
                <a:ea typeface="+mn-ea"/>
                <a:cs typeface="Verdana"/>
              </a:rPr>
              <a:t>Global </a:t>
            </a:r>
            <a:r>
              <a:rPr kumimoji="0" sz="1700" b="0" i="0" u="none" strike="noStrike" kern="1200" cap="none" spc="-25" normalizeH="0" baseline="0" noProof="0" dirty="0">
                <a:ln>
                  <a:noFill/>
                </a:ln>
                <a:solidFill>
                  <a:srgbClr val="FFFFFF"/>
                </a:solidFill>
                <a:effectLst/>
                <a:uLnTx/>
                <a:uFillTx/>
                <a:latin typeface="Verdana"/>
                <a:ea typeface="+mn-ea"/>
                <a:cs typeface="Verdana"/>
              </a:rPr>
              <a:t>companies  </a:t>
            </a:r>
            <a:r>
              <a:rPr kumimoji="0" sz="1700" b="0" i="0" u="none" strike="noStrike" kern="1200" cap="none" spc="-70" normalizeH="0" baseline="0" noProof="0" dirty="0">
                <a:ln>
                  <a:noFill/>
                </a:ln>
                <a:solidFill>
                  <a:srgbClr val="FFFFFF"/>
                </a:solidFill>
                <a:effectLst/>
                <a:uLnTx/>
                <a:uFillTx/>
                <a:latin typeface="Verdana"/>
                <a:ea typeface="+mn-ea"/>
                <a:cs typeface="Verdana"/>
              </a:rPr>
              <a:t>have  </a:t>
            </a:r>
            <a:r>
              <a:rPr kumimoji="0" sz="1700" b="0" i="0" u="none" strike="noStrike" kern="1200" cap="none" spc="-45" normalizeH="0" baseline="0" noProof="0" dirty="0">
                <a:ln>
                  <a:noFill/>
                </a:ln>
                <a:solidFill>
                  <a:srgbClr val="FFFFFF"/>
                </a:solidFill>
                <a:effectLst/>
                <a:uLnTx/>
                <a:uFillTx/>
                <a:latin typeface="Verdana"/>
                <a:ea typeface="+mn-ea"/>
                <a:cs typeface="Verdana"/>
              </a:rPr>
              <a:t>invested  </a:t>
            </a:r>
            <a:r>
              <a:rPr kumimoji="0" sz="1700" b="0" i="0" u="none" strike="noStrike" kern="1200" cap="none" spc="-50" normalizeH="0" baseline="0" noProof="0" dirty="0">
                <a:ln>
                  <a:noFill/>
                </a:ln>
                <a:solidFill>
                  <a:srgbClr val="FFFFFF"/>
                </a:solidFill>
                <a:effectLst/>
                <a:uLnTx/>
                <a:uFillTx/>
                <a:latin typeface="Verdana"/>
                <a:ea typeface="+mn-ea"/>
                <a:cs typeface="Verdana"/>
              </a:rPr>
              <a:t>strongly  </a:t>
            </a:r>
            <a:r>
              <a:rPr kumimoji="0" sz="1700" b="0" i="0" u="none" strike="noStrike" kern="1200" cap="none" spc="-40" normalizeH="0" baseline="0" noProof="0" dirty="0">
                <a:ln>
                  <a:noFill/>
                </a:ln>
                <a:solidFill>
                  <a:srgbClr val="FFFFFF"/>
                </a:solidFill>
                <a:effectLst/>
                <a:uLnTx/>
                <a:uFillTx/>
                <a:latin typeface="Verdana"/>
                <a:ea typeface="+mn-ea"/>
                <a:cs typeface="Verdana"/>
              </a:rPr>
              <a:t>in </a:t>
            </a:r>
            <a:r>
              <a:rPr kumimoji="0" sz="1700" b="0" i="0" u="none" strike="noStrike" kern="1200" cap="none" spc="-35" normalizeH="0" baseline="0" noProof="0" dirty="0">
                <a:ln>
                  <a:noFill/>
                </a:ln>
                <a:solidFill>
                  <a:srgbClr val="FFFFFF"/>
                </a:solidFill>
                <a:effectLst/>
                <a:uLnTx/>
                <a:uFillTx/>
                <a:latin typeface="Verdana"/>
                <a:ea typeface="+mn-ea"/>
                <a:cs typeface="Verdana"/>
              </a:rPr>
              <a:t>Singapore, creating </a:t>
            </a:r>
            <a:r>
              <a:rPr kumimoji="0" sz="1700" b="0" i="0" u="none" strike="noStrike" kern="1200" cap="none" spc="60" normalizeH="0" baseline="0" noProof="0" dirty="0">
                <a:ln>
                  <a:noFill/>
                </a:ln>
                <a:solidFill>
                  <a:srgbClr val="FFFFFF"/>
                </a:solidFill>
                <a:effectLst/>
                <a:uLnTx/>
                <a:uFillTx/>
                <a:latin typeface="Verdana"/>
                <a:ea typeface="+mn-ea"/>
                <a:cs typeface="Verdana"/>
              </a:rPr>
              <a:t> </a:t>
            </a:r>
            <a:r>
              <a:rPr kumimoji="0" sz="1700" b="0" i="0" u="none" strike="noStrike" kern="1200" cap="none" spc="-114" normalizeH="0" baseline="0" noProof="0" dirty="0">
                <a:ln>
                  <a:noFill/>
                </a:ln>
                <a:solidFill>
                  <a:srgbClr val="FFFFFF"/>
                </a:solidFill>
                <a:effectLst/>
                <a:uLnTx/>
                <a:uFillTx/>
                <a:latin typeface="Verdana"/>
                <a:ea typeface="+mn-ea"/>
                <a:cs typeface="Verdana"/>
              </a:rPr>
              <a:t>a</a:t>
            </a:r>
            <a:r>
              <a:rPr kumimoji="0" sz="1700" b="0" i="0" u="none" strike="noStrike" kern="1200" cap="none" spc="330" normalizeH="0" baseline="0" noProof="0" dirty="0">
                <a:ln>
                  <a:noFill/>
                </a:ln>
                <a:solidFill>
                  <a:srgbClr val="FFFFFF"/>
                </a:solidFill>
                <a:effectLst/>
                <a:uLnTx/>
                <a:uFillTx/>
                <a:latin typeface="Verdana"/>
                <a:ea typeface="+mn-ea"/>
                <a:cs typeface="Verdana"/>
              </a:rPr>
              <a:t> </a:t>
            </a:r>
            <a:r>
              <a:rPr kumimoji="0" sz="1700" b="0" i="0" u="none" strike="noStrike" kern="1200" cap="none" spc="-60" normalizeH="0" baseline="0" noProof="0" dirty="0">
                <a:ln>
                  <a:noFill/>
                </a:ln>
                <a:solidFill>
                  <a:srgbClr val="FFFFFF"/>
                </a:solidFill>
                <a:effectLst/>
                <a:uLnTx/>
                <a:uFillTx/>
                <a:latin typeface="Verdana"/>
                <a:ea typeface="+mn-ea"/>
                <a:cs typeface="Verdana"/>
              </a:rPr>
              <a:t>vibrant	</a:t>
            </a:r>
            <a:r>
              <a:rPr kumimoji="0" sz="1700" b="0" i="0" u="none" strike="noStrike" kern="1200" cap="none" spc="-40" normalizeH="0" baseline="0" noProof="0" dirty="0">
                <a:ln>
                  <a:noFill/>
                </a:ln>
                <a:solidFill>
                  <a:srgbClr val="FFFFFF"/>
                </a:solidFill>
                <a:effectLst/>
                <a:uLnTx/>
                <a:uFillTx/>
                <a:latin typeface="Verdana"/>
                <a:ea typeface="+mn-ea"/>
                <a:cs typeface="Verdana"/>
              </a:rPr>
              <a:t>innovation </a:t>
            </a:r>
            <a:r>
              <a:rPr kumimoji="0" sz="1700" b="0" i="0" u="none" strike="noStrike" kern="1200" cap="none" spc="-30" normalizeH="0" baseline="0" noProof="0" dirty="0">
                <a:ln>
                  <a:noFill/>
                </a:ln>
                <a:solidFill>
                  <a:srgbClr val="FFFFFF"/>
                </a:solidFill>
                <a:effectLst/>
                <a:uLnTx/>
                <a:uFillTx/>
                <a:latin typeface="Verdana"/>
                <a:ea typeface="+mn-ea"/>
                <a:cs typeface="Verdana"/>
              </a:rPr>
              <a:t>and </a:t>
            </a:r>
            <a:r>
              <a:rPr kumimoji="0" sz="1700" b="0" i="0" u="none" strike="noStrike" kern="1200" cap="none" spc="-40" normalizeH="0" baseline="0" noProof="0" dirty="0">
                <a:ln>
                  <a:noFill/>
                </a:ln>
                <a:solidFill>
                  <a:srgbClr val="FFFFFF"/>
                </a:solidFill>
                <a:effectLst/>
                <a:uLnTx/>
                <a:uFillTx/>
                <a:latin typeface="Verdana"/>
                <a:ea typeface="+mn-ea"/>
                <a:cs typeface="Verdana"/>
              </a:rPr>
              <a:t>tech  </a:t>
            </a:r>
            <a:r>
              <a:rPr kumimoji="0" sz="1700" b="0" i="0" u="none" strike="noStrike" kern="1200" cap="none" spc="-50" normalizeH="0" baseline="0" noProof="0" dirty="0">
                <a:ln>
                  <a:noFill/>
                </a:ln>
                <a:solidFill>
                  <a:srgbClr val="FFFFFF"/>
                </a:solidFill>
                <a:effectLst/>
                <a:uLnTx/>
                <a:uFillTx/>
                <a:latin typeface="Verdana"/>
                <a:ea typeface="+mn-ea"/>
                <a:cs typeface="Verdana"/>
              </a:rPr>
              <a:t>ecosystem</a:t>
            </a:r>
            <a:r>
              <a:rPr kumimoji="0" sz="1700" b="0" i="0" u="none" strike="noStrike" kern="1200" cap="none" spc="-130" normalizeH="0" baseline="0" noProof="0" dirty="0">
                <a:ln>
                  <a:noFill/>
                </a:ln>
                <a:solidFill>
                  <a:srgbClr val="FFFFFF"/>
                </a:solidFill>
                <a:effectLst/>
                <a:uLnTx/>
                <a:uFillTx/>
                <a:latin typeface="Verdana"/>
                <a:ea typeface="+mn-ea"/>
                <a:cs typeface="Verdana"/>
              </a:rPr>
              <a:t> </a:t>
            </a:r>
            <a:r>
              <a:rPr kumimoji="0" sz="1700" b="0" i="0" u="none" strike="noStrike" kern="1200" cap="none" spc="-55" normalizeH="0" baseline="0" noProof="0" dirty="0">
                <a:ln>
                  <a:noFill/>
                </a:ln>
                <a:solidFill>
                  <a:srgbClr val="FFFFFF"/>
                </a:solidFill>
                <a:effectLst/>
                <a:uLnTx/>
                <a:uFillTx/>
                <a:latin typeface="Verdana"/>
                <a:ea typeface="+mn-ea"/>
                <a:cs typeface="Verdana"/>
              </a:rPr>
              <a:t>here.</a:t>
            </a:r>
            <a:endParaRPr kumimoji="0" sz="17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100"/>
              </a:spcBef>
              <a:spcAft>
                <a:spcPts val="0"/>
              </a:spcAft>
              <a:buClrTx/>
              <a:buSzTx/>
              <a:buFont typeface="Arial"/>
              <a:buChar char="•"/>
              <a:tabLst>
                <a:tab pos="283845" algn="l"/>
                <a:tab pos="284480" algn="l"/>
              </a:tabLst>
              <a:defRPr/>
            </a:pPr>
            <a:r>
              <a:rPr kumimoji="0" sz="1700" b="0" i="0" u="none" strike="noStrike" kern="1200" cap="none" spc="-75" normalizeH="0" baseline="0" noProof="0" dirty="0">
                <a:ln>
                  <a:noFill/>
                </a:ln>
                <a:solidFill>
                  <a:srgbClr val="FFFFFF"/>
                </a:solidFill>
                <a:effectLst/>
                <a:uLnTx/>
                <a:uFillTx/>
                <a:latin typeface="Verdana"/>
                <a:ea typeface="+mn-ea"/>
                <a:cs typeface="Verdana"/>
              </a:rPr>
              <a:t>80 </a:t>
            </a:r>
            <a:r>
              <a:rPr kumimoji="0" sz="1700" b="0" i="0" u="none" strike="noStrike" kern="1200" cap="none" spc="-30" normalizeH="0" baseline="0" noProof="0" dirty="0">
                <a:ln>
                  <a:noFill/>
                </a:ln>
                <a:solidFill>
                  <a:srgbClr val="FFFFFF"/>
                </a:solidFill>
                <a:effectLst/>
                <a:uLnTx/>
                <a:uFillTx/>
                <a:latin typeface="Verdana"/>
                <a:ea typeface="+mn-ea"/>
                <a:cs typeface="Verdana"/>
              </a:rPr>
              <a:t>of </a:t>
            </a:r>
            <a:r>
              <a:rPr kumimoji="0" sz="1700" b="0" i="0" u="none" strike="noStrike" kern="1200" cap="none" spc="-65" normalizeH="0" baseline="0" noProof="0" dirty="0">
                <a:ln>
                  <a:noFill/>
                </a:ln>
                <a:solidFill>
                  <a:srgbClr val="FFFFFF"/>
                </a:solidFill>
                <a:effectLst/>
                <a:uLnTx/>
                <a:uFillTx/>
                <a:latin typeface="Verdana"/>
                <a:ea typeface="+mn-ea"/>
                <a:cs typeface="Verdana"/>
              </a:rPr>
              <a:t>the </a:t>
            </a:r>
            <a:r>
              <a:rPr kumimoji="0" sz="1700" b="0" i="0" u="none" strike="noStrike" kern="1200" cap="none" spc="-35" normalizeH="0" baseline="0" noProof="0" dirty="0">
                <a:ln>
                  <a:noFill/>
                </a:ln>
                <a:solidFill>
                  <a:srgbClr val="FFFFFF"/>
                </a:solidFill>
                <a:effectLst/>
                <a:uLnTx/>
                <a:uFillTx/>
                <a:latin typeface="Verdana"/>
                <a:ea typeface="+mn-ea"/>
                <a:cs typeface="Verdana"/>
              </a:rPr>
              <a:t>world’s </a:t>
            </a:r>
            <a:r>
              <a:rPr kumimoji="0" sz="1700" b="0" i="0" u="none" strike="noStrike" kern="1200" cap="none" spc="-15" normalizeH="0" baseline="0" noProof="0" dirty="0">
                <a:ln>
                  <a:noFill/>
                </a:ln>
                <a:solidFill>
                  <a:srgbClr val="FFFFFF"/>
                </a:solidFill>
                <a:effectLst/>
                <a:uLnTx/>
                <a:uFillTx/>
                <a:latin typeface="Verdana"/>
                <a:ea typeface="+mn-ea"/>
                <a:cs typeface="Verdana"/>
              </a:rPr>
              <a:t>top </a:t>
            </a:r>
            <a:r>
              <a:rPr kumimoji="0" sz="1700" b="0" i="0" u="none" strike="noStrike" kern="1200" cap="none" spc="-65" normalizeH="0" baseline="0" noProof="0" dirty="0">
                <a:ln>
                  <a:noFill/>
                </a:ln>
                <a:solidFill>
                  <a:srgbClr val="FFFFFF"/>
                </a:solidFill>
                <a:effectLst/>
                <a:uLnTx/>
                <a:uFillTx/>
                <a:latin typeface="Verdana"/>
                <a:ea typeface="+mn-ea"/>
                <a:cs typeface="Verdana"/>
              </a:rPr>
              <a:t>100 </a:t>
            </a:r>
            <a:r>
              <a:rPr kumimoji="0" sz="1700" b="0" i="0" u="none" strike="noStrike" kern="1200" cap="none" spc="-30" normalizeH="0" baseline="0" noProof="0" dirty="0">
                <a:ln>
                  <a:noFill/>
                </a:ln>
                <a:solidFill>
                  <a:srgbClr val="FFFFFF"/>
                </a:solidFill>
                <a:effectLst/>
                <a:uLnTx/>
                <a:uFillTx/>
                <a:latin typeface="Verdana"/>
                <a:ea typeface="+mn-ea"/>
                <a:cs typeface="Verdana"/>
              </a:rPr>
              <a:t>tech </a:t>
            </a:r>
            <a:r>
              <a:rPr kumimoji="0" sz="1700" b="0" i="0" u="none" strike="noStrike" kern="1200" cap="none" spc="-25" normalizeH="0" baseline="0" noProof="0" dirty="0">
                <a:ln>
                  <a:noFill/>
                </a:ln>
                <a:solidFill>
                  <a:srgbClr val="FFFFFF"/>
                </a:solidFill>
                <a:effectLst/>
                <a:uLnTx/>
                <a:uFillTx/>
                <a:latin typeface="Verdana"/>
                <a:ea typeface="+mn-ea"/>
                <a:cs typeface="Verdana"/>
              </a:rPr>
              <a:t>companies </a:t>
            </a:r>
            <a:r>
              <a:rPr kumimoji="0" sz="1700" b="0" i="0" u="none" strike="noStrike" kern="1200" cap="none" spc="-70" normalizeH="0" baseline="0" noProof="0" dirty="0">
                <a:ln>
                  <a:noFill/>
                </a:ln>
                <a:solidFill>
                  <a:srgbClr val="FFFFFF"/>
                </a:solidFill>
                <a:effectLst/>
                <a:uLnTx/>
                <a:uFillTx/>
                <a:latin typeface="Verdana"/>
                <a:ea typeface="+mn-ea"/>
                <a:cs typeface="Verdana"/>
              </a:rPr>
              <a:t>have </a:t>
            </a:r>
            <a:r>
              <a:rPr kumimoji="0" sz="1700" b="0" i="0" u="none" strike="noStrike" kern="1200" cap="none" spc="-25" normalizeH="0" baseline="0" noProof="0" dirty="0">
                <a:ln>
                  <a:noFill/>
                </a:ln>
                <a:solidFill>
                  <a:srgbClr val="FFFFFF"/>
                </a:solidFill>
                <a:effectLst/>
                <a:uLnTx/>
                <a:uFillTx/>
                <a:latin typeface="Verdana"/>
                <a:ea typeface="+mn-ea"/>
                <a:cs typeface="Verdana"/>
              </a:rPr>
              <a:t>established </a:t>
            </a:r>
            <a:r>
              <a:rPr kumimoji="0" sz="1700" b="0" i="0" u="none" strike="noStrike" kern="1200" cap="none" spc="-114" normalizeH="0" baseline="0" noProof="0" dirty="0">
                <a:ln>
                  <a:noFill/>
                </a:ln>
                <a:solidFill>
                  <a:srgbClr val="FFFFFF"/>
                </a:solidFill>
                <a:effectLst/>
                <a:uLnTx/>
                <a:uFillTx/>
                <a:latin typeface="Verdana"/>
                <a:ea typeface="+mn-ea"/>
                <a:cs typeface="Verdana"/>
              </a:rPr>
              <a:t>a </a:t>
            </a:r>
            <a:r>
              <a:rPr kumimoji="0" sz="1700" b="0" i="0" u="none" strike="noStrike" kern="1200" cap="none" spc="-25" normalizeH="0" baseline="0" noProof="0" dirty="0">
                <a:ln>
                  <a:noFill/>
                </a:ln>
                <a:solidFill>
                  <a:srgbClr val="FFFFFF"/>
                </a:solidFill>
                <a:effectLst/>
                <a:uLnTx/>
                <a:uFillTx/>
                <a:latin typeface="Verdana"/>
                <a:ea typeface="+mn-ea"/>
                <a:cs typeface="Verdana"/>
              </a:rPr>
              <a:t>presence </a:t>
            </a:r>
            <a:r>
              <a:rPr kumimoji="0" sz="1700" b="0" i="0" u="none" strike="noStrike" kern="1200" cap="none" spc="-45" normalizeH="0" baseline="0" noProof="0" dirty="0">
                <a:ln>
                  <a:noFill/>
                </a:ln>
                <a:solidFill>
                  <a:srgbClr val="FFFFFF"/>
                </a:solidFill>
                <a:effectLst/>
                <a:uLnTx/>
                <a:uFillTx/>
                <a:latin typeface="Verdana"/>
                <a:ea typeface="+mn-ea"/>
                <a:cs typeface="Verdana"/>
              </a:rPr>
              <a:t>here </a:t>
            </a:r>
            <a:r>
              <a:rPr kumimoji="0" sz="1700" b="0" i="0" u="none" strike="noStrike" kern="1200" cap="none" spc="-95" normalizeH="0" baseline="0" noProof="0" dirty="0">
                <a:ln>
                  <a:noFill/>
                </a:ln>
                <a:solidFill>
                  <a:srgbClr val="FFFFFF"/>
                </a:solidFill>
                <a:effectLst/>
                <a:uLnTx/>
                <a:uFillTx/>
                <a:latin typeface="Verdana"/>
                <a:ea typeface="+mn-ea"/>
                <a:cs typeface="Verdana"/>
              </a:rPr>
              <a:t>(e.g.</a:t>
            </a:r>
            <a:r>
              <a:rPr kumimoji="0" sz="1700" b="0" i="0" u="none" strike="noStrike" kern="1200" cap="none" spc="30" normalizeH="0" baseline="0" noProof="0" dirty="0">
                <a:ln>
                  <a:noFill/>
                </a:ln>
                <a:solidFill>
                  <a:srgbClr val="FFFFFF"/>
                </a:solidFill>
                <a:effectLst/>
                <a:uLnTx/>
                <a:uFillTx/>
                <a:latin typeface="Verdana"/>
                <a:ea typeface="+mn-ea"/>
                <a:cs typeface="Verdana"/>
              </a:rPr>
              <a:t> </a:t>
            </a:r>
            <a:r>
              <a:rPr kumimoji="0" sz="1700" b="0" i="0" u="none" strike="noStrike" kern="1200" cap="none" spc="25" normalizeH="0" baseline="0" noProof="0" dirty="0">
                <a:ln>
                  <a:noFill/>
                </a:ln>
                <a:solidFill>
                  <a:srgbClr val="FFFFFF"/>
                </a:solidFill>
                <a:effectLst/>
                <a:uLnTx/>
                <a:uFillTx/>
                <a:latin typeface="Verdana"/>
                <a:ea typeface="+mn-ea"/>
                <a:cs typeface="Verdana"/>
              </a:rPr>
              <a:t>Google </a:t>
            </a:r>
            <a:r>
              <a:rPr kumimoji="0" sz="1700" b="0" i="0" u="none" strike="noStrike" kern="1200" cap="none" spc="-30" normalizeH="0" baseline="0" noProof="0" dirty="0">
                <a:ln>
                  <a:noFill/>
                </a:ln>
                <a:solidFill>
                  <a:srgbClr val="FFFFFF"/>
                </a:solidFill>
                <a:effectLst/>
                <a:uLnTx/>
                <a:uFillTx/>
                <a:latin typeface="Verdana"/>
                <a:ea typeface="+mn-ea"/>
                <a:cs typeface="Verdana"/>
              </a:rPr>
              <a:t>and</a:t>
            </a:r>
            <a:endParaRPr kumimoji="0" sz="1700" b="0" i="0" u="none" strike="noStrike" kern="1200" cap="none" spc="0" normalizeH="0" baseline="0" noProof="0">
              <a:ln>
                <a:noFill/>
              </a:ln>
              <a:solidFill>
                <a:prstClr val="black"/>
              </a:solidFill>
              <a:effectLst/>
              <a:uLnTx/>
              <a:uFillTx/>
              <a:latin typeface="Verdana"/>
              <a:ea typeface="+mn-ea"/>
              <a:cs typeface="Verdana"/>
            </a:endParaRPr>
          </a:p>
          <a:p>
            <a:pPr marL="283845" marR="0" lvl="0" indent="0" algn="l" defTabSz="914400" rtl="0" eaLnBrk="1" fontAlgn="auto" latinLnBrk="0" hangingPunct="1">
              <a:lnSpc>
                <a:spcPct val="100000"/>
              </a:lnSpc>
              <a:spcBef>
                <a:spcPts val="100"/>
              </a:spcBef>
              <a:spcAft>
                <a:spcPts val="0"/>
              </a:spcAft>
              <a:buClrTx/>
              <a:buSzTx/>
              <a:buFontTx/>
              <a:buNone/>
              <a:tabLst/>
              <a:defRPr/>
            </a:pPr>
            <a:r>
              <a:rPr kumimoji="0" sz="1700" b="0" i="0" u="none" strike="noStrike" kern="1200" cap="none" spc="-40" normalizeH="0" baseline="0" noProof="0" dirty="0">
                <a:ln>
                  <a:noFill/>
                </a:ln>
                <a:solidFill>
                  <a:srgbClr val="FFFFFF"/>
                </a:solidFill>
                <a:effectLst/>
                <a:uLnTx/>
                <a:uFillTx/>
                <a:latin typeface="Verdana"/>
                <a:ea typeface="+mn-ea"/>
                <a:cs typeface="Verdana"/>
              </a:rPr>
              <a:t>Facebook). </a:t>
            </a:r>
            <a:r>
              <a:rPr kumimoji="0" sz="1700" b="0" i="0" u="none" strike="noStrike" kern="1200" cap="none" spc="-30" normalizeH="0" baseline="0" noProof="0" dirty="0">
                <a:ln>
                  <a:noFill/>
                </a:ln>
                <a:solidFill>
                  <a:srgbClr val="FFFFFF"/>
                </a:solidFill>
                <a:effectLst/>
                <a:uLnTx/>
                <a:uFillTx/>
                <a:latin typeface="Verdana"/>
                <a:ea typeface="+mn-ea"/>
                <a:cs typeface="Verdana"/>
              </a:rPr>
              <a:t>Through </a:t>
            </a:r>
            <a:r>
              <a:rPr kumimoji="0" sz="1700" b="0" i="0" u="none" strike="noStrike" kern="1200" cap="none" spc="-45" normalizeH="0" baseline="0" noProof="0" dirty="0">
                <a:ln>
                  <a:noFill/>
                </a:ln>
                <a:solidFill>
                  <a:srgbClr val="FFFFFF"/>
                </a:solidFill>
                <a:effectLst/>
                <a:uLnTx/>
                <a:uFillTx/>
                <a:latin typeface="Verdana"/>
                <a:ea typeface="+mn-ea"/>
                <a:cs typeface="Verdana"/>
              </a:rPr>
              <a:t>platforms </a:t>
            </a:r>
            <a:r>
              <a:rPr kumimoji="0" sz="1700" b="0" i="0" u="none" strike="noStrike" kern="1200" cap="none" spc="-50" normalizeH="0" baseline="0" noProof="0" dirty="0">
                <a:ln>
                  <a:noFill/>
                </a:ln>
                <a:solidFill>
                  <a:srgbClr val="FFFFFF"/>
                </a:solidFill>
                <a:effectLst/>
                <a:uLnTx/>
                <a:uFillTx/>
                <a:latin typeface="Verdana"/>
                <a:ea typeface="+mn-ea"/>
                <a:cs typeface="Verdana"/>
              </a:rPr>
              <a:t>such </a:t>
            </a:r>
            <a:r>
              <a:rPr kumimoji="0" sz="1700" b="0" i="0" u="none" strike="noStrike" kern="1200" cap="none" spc="-95" normalizeH="0" baseline="0" noProof="0" dirty="0">
                <a:ln>
                  <a:noFill/>
                </a:ln>
                <a:solidFill>
                  <a:srgbClr val="FFFFFF"/>
                </a:solidFill>
                <a:effectLst/>
                <a:uLnTx/>
                <a:uFillTx/>
                <a:latin typeface="Verdana"/>
                <a:ea typeface="+mn-ea"/>
                <a:cs typeface="Verdana"/>
              </a:rPr>
              <a:t>as </a:t>
            </a:r>
            <a:r>
              <a:rPr kumimoji="0" sz="1700" b="0" i="0" u="none" strike="noStrike" kern="1200" cap="none" spc="-25" normalizeH="0" baseline="0" noProof="0" dirty="0">
                <a:ln>
                  <a:noFill/>
                </a:ln>
                <a:solidFill>
                  <a:srgbClr val="FFFFFF"/>
                </a:solidFill>
                <a:effectLst/>
                <a:uLnTx/>
                <a:uFillTx/>
                <a:latin typeface="Verdana"/>
                <a:ea typeface="+mn-ea"/>
                <a:cs typeface="Verdana"/>
              </a:rPr>
              <a:t>corporate </a:t>
            </a:r>
            <a:r>
              <a:rPr kumimoji="0" sz="1700" b="0" i="0" u="none" strike="noStrike" kern="1200" cap="none" spc="-30" normalizeH="0" baseline="0" noProof="0" dirty="0">
                <a:ln>
                  <a:noFill/>
                </a:ln>
                <a:solidFill>
                  <a:srgbClr val="FFFFFF"/>
                </a:solidFill>
                <a:effectLst/>
                <a:uLnTx/>
                <a:uFillTx/>
                <a:latin typeface="Verdana"/>
                <a:ea typeface="+mn-ea"/>
                <a:cs typeface="Verdana"/>
              </a:rPr>
              <a:t>laboratories and </a:t>
            </a:r>
            <a:r>
              <a:rPr kumimoji="0" sz="1700" b="0" i="0" u="none" strike="noStrike" kern="1200" cap="none" spc="-20" normalizeH="0" baseline="0" noProof="0" dirty="0">
                <a:ln>
                  <a:noFill/>
                </a:ln>
                <a:solidFill>
                  <a:srgbClr val="FFFFFF"/>
                </a:solidFill>
                <a:effectLst/>
                <a:uLnTx/>
                <a:uFillTx/>
                <a:latin typeface="Verdana"/>
                <a:ea typeface="+mn-ea"/>
                <a:cs typeface="Verdana"/>
              </a:rPr>
              <a:t>technology</a:t>
            </a:r>
            <a:r>
              <a:rPr kumimoji="0" sz="1700" b="0" i="0" u="none" strike="noStrike" kern="1200" cap="none" spc="-385" normalizeH="0" baseline="0" noProof="0" dirty="0">
                <a:ln>
                  <a:noFill/>
                </a:ln>
                <a:solidFill>
                  <a:srgbClr val="FFFFFF"/>
                </a:solidFill>
                <a:effectLst/>
                <a:uLnTx/>
                <a:uFillTx/>
                <a:latin typeface="Verdana"/>
                <a:ea typeface="+mn-ea"/>
                <a:cs typeface="Verdana"/>
              </a:rPr>
              <a:t> </a:t>
            </a:r>
            <a:r>
              <a:rPr kumimoji="0" sz="1700" b="0" i="0" u="none" strike="noStrike" kern="1200" cap="none" spc="-45" normalizeH="0" baseline="0" noProof="0" dirty="0">
                <a:ln>
                  <a:noFill/>
                </a:ln>
                <a:solidFill>
                  <a:srgbClr val="FFFFFF"/>
                </a:solidFill>
                <a:effectLst/>
                <a:uLnTx/>
                <a:uFillTx/>
                <a:latin typeface="Verdana"/>
                <a:ea typeface="+mn-ea"/>
                <a:cs typeface="Verdana"/>
              </a:rPr>
              <a:t>consortia,</a:t>
            </a:r>
            <a:endParaRPr kumimoji="0" sz="17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105"/>
              </a:spcBef>
              <a:spcAft>
                <a:spcPts val="0"/>
              </a:spcAft>
              <a:buClrTx/>
              <a:buSzTx/>
              <a:buFont typeface="Arial"/>
              <a:buChar char="•"/>
              <a:tabLst>
                <a:tab pos="283845" algn="l"/>
                <a:tab pos="284480" algn="l"/>
              </a:tabLst>
              <a:defRPr/>
            </a:pPr>
            <a:r>
              <a:rPr kumimoji="0" sz="1700" b="0" i="0" u="none" strike="noStrike" kern="1200" cap="none" spc="-5" normalizeH="0" baseline="0" noProof="0" dirty="0">
                <a:ln>
                  <a:noFill/>
                </a:ln>
                <a:solidFill>
                  <a:srgbClr val="FFFFFF"/>
                </a:solidFill>
                <a:effectLst/>
                <a:uLnTx/>
                <a:uFillTx/>
                <a:latin typeface="Verdana"/>
                <a:ea typeface="+mn-ea"/>
                <a:cs typeface="Verdana"/>
              </a:rPr>
              <a:t>Our</a:t>
            </a:r>
            <a:r>
              <a:rPr kumimoji="0" sz="1700" b="0" i="0" u="none" strike="noStrike" kern="1200" cap="none" spc="160" normalizeH="0" baseline="0" noProof="0" dirty="0">
                <a:ln>
                  <a:noFill/>
                </a:ln>
                <a:solidFill>
                  <a:srgbClr val="FFFFFF"/>
                </a:solidFill>
                <a:effectLst/>
                <a:uLnTx/>
                <a:uFillTx/>
                <a:latin typeface="Verdana"/>
                <a:ea typeface="+mn-ea"/>
                <a:cs typeface="Verdana"/>
              </a:rPr>
              <a:t> </a:t>
            </a:r>
            <a:r>
              <a:rPr kumimoji="0" sz="1700" b="0" i="0" u="none" strike="noStrike" kern="1200" cap="none" spc="-65" normalizeH="0" baseline="0" noProof="0" dirty="0">
                <a:ln>
                  <a:noFill/>
                </a:ln>
                <a:solidFill>
                  <a:srgbClr val="FFFFFF"/>
                </a:solidFill>
                <a:effectLst/>
                <a:uLnTx/>
                <a:uFillTx/>
                <a:latin typeface="Verdana"/>
                <a:ea typeface="+mn-ea"/>
                <a:cs typeface="Verdana"/>
              </a:rPr>
              <a:t>startup</a:t>
            </a:r>
            <a:r>
              <a:rPr kumimoji="0" sz="1700" b="0" i="0" u="none" strike="noStrike" kern="1200" cap="none" spc="160" normalizeH="0" baseline="0" noProof="0" dirty="0">
                <a:ln>
                  <a:noFill/>
                </a:ln>
                <a:solidFill>
                  <a:srgbClr val="FFFFFF"/>
                </a:solidFill>
                <a:effectLst/>
                <a:uLnTx/>
                <a:uFillTx/>
                <a:latin typeface="Verdana"/>
                <a:ea typeface="+mn-ea"/>
                <a:cs typeface="Verdana"/>
              </a:rPr>
              <a:t> </a:t>
            </a:r>
            <a:r>
              <a:rPr kumimoji="0" sz="1700" b="0" i="0" u="none" strike="noStrike" kern="1200" cap="none" spc="-50" normalizeH="0" baseline="0" noProof="0" dirty="0">
                <a:ln>
                  <a:noFill/>
                </a:ln>
                <a:solidFill>
                  <a:srgbClr val="FFFFFF"/>
                </a:solidFill>
                <a:effectLst/>
                <a:uLnTx/>
                <a:uFillTx/>
                <a:latin typeface="Verdana"/>
                <a:ea typeface="+mn-ea"/>
                <a:cs typeface="Verdana"/>
              </a:rPr>
              <a:t>ecosystem</a:t>
            </a:r>
            <a:r>
              <a:rPr kumimoji="0" sz="1700" b="0" i="0" u="none" strike="noStrike" kern="1200" cap="none" spc="170" normalizeH="0" baseline="0" noProof="0" dirty="0">
                <a:ln>
                  <a:noFill/>
                </a:ln>
                <a:solidFill>
                  <a:srgbClr val="FFFFFF"/>
                </a:solidFill>
                <a:effectLst/>
                <a:uLnTx/>
                <a:uFillTx/>
                <a:latin typeface="Verdana"/>
                <a:ea typeface="+mn-ea"/>
                <a:cs typeface="Verdana"/>
              </a:rPr>
              <a:t> </a:t>
            </a:r>
            <a:r>
              <a:rPr kumimoji="0" sz="1700" b="0" i="0" u="none" strike="noStrike" kern="1200" cap="none" spc="-80" normalizeH="0" baseline="0" noProof="0" dirty="0">
                <a:ln>
                  <a:noFill/>
                </a:ln>
                <a:solidFill>
                  <a:srgbClr val="FFFFFF"/>
                </a:solidFill>
                <a:effectLst/>
                <a:uLnTx/>
                <a:uFillTx/>
                <a:latin typeface="Verdana"/>
                <a:ea typeface="+mn-ea"/>
                <a:cs typeface="Verdana"/>
              </a:rPr>
              <a:t>has</a:t>
            </a:r>
            <a:r>
              <a:rPr kumimoji="0" sz="1700" b="0" i="0" u="none" strike="noStrike" kern="1200" cap="none" spc="160" normalizeH="0" baseline="0" noProof="0" dirty="0">
                <a:ln>
                  <a:noFill/>
                </a:ln>
                <a:solidFill>
                  <a:srgbClr val="FFFFFF"/>
                </a:solidFill>
                <a:effectLst/>
                <a:uLnTx/>
                <a:uFillTx/>
                <a:latin typeface="Verdana"/>
                <a:ea typeface="+mn-ea"/>
                <a:cs typeface="Verdana"/>
              </a:rPr>
              <a:t> </a:t>
            </a:r>
            <a:r>
              <a:rPr kumimoji="0" sz="1700" b="0" i="0" u="none" strike="noStrike" kern="1200" cap="none" spc="-35" normalizeH="0" baseline="0" noProof="0" dirty="0">
                <a:ln>
                  <a:noFill/>
                </a:ln>
                <a:solidFill>
                  <a:srgbClr val="FFFFFF"/>
                </a:solidFill>
                <a:effectLst/>
                <a:uLnTx/>
                <a:uFillTx/>
                <a:latin typeface="Verdana"/>
                <a:ea typeface="+mn-ea"/>
                <a:cs typeface="Verdana"/>
              </a:rPr>
              <a:t>also</a:t>
            </a:r>
            <a:r>
              <a:rPr kumimoji="0" sz="1700" b="0" i="0" u="none" strike="noStrike" kern="1200" cap="none" spc="145" normalizeH="0" baseline="0" noProof="0" dirty="0">
                <a:ln>
                  <a:noFill/>
                </a:ln>
                <a:solidFill>
                  <a:srgbClr val="FFFFFF"/>
                </a:solidFill>
                <a:effectLst/>
                <a:uLnTx/>
                <a:uFillTx/>
                <a:latin typeface="Verdana"/>
                <a:ea typeface="+mn-ea"/>
                <a:cs typeface="Verdana"/>
              </a:rPr>
              <a:t> </a:t>
            </a:r>
            <a:r>
              <a:rPr kumimoji="0" sz="1700" b="0" i="0" u="none" strike="noStrike" kern="1200" cap="none" spc="-30" normalizeH="0" baseline="0" noProof="0" dirty="0">
                <a:ln>
                  <a:noFill/>
                </a:ln>
                <a:solidFill>
                  <a:srgbClr val="FFFFFF"/>
                </a:solidFill>
                <a:effectLst/>
                <a:uLnTx/>
                <a:uFillTx/>
                <a:latin typeface="Verdana"/>
                <a:ea typeface="+mn-ea"/>
                <a:cs typeface="Verdana"/>
              </a:rPr>
              <a:t>grown</a:t>
            </a:r>
            <a:r>
              <a:rPr kumimoji="0" sz="1700" b="0" i="0" u="none" strike="noStrike" kern="1200" cap="none" spc="150" normalizeH="0" baseline="0" noProof="0" dirty="0">
                <a:ln>
                  <a:noFill/>
                </a:ln>
                <a:solidFill>
                  <a:srgbClr val="FFFFFF"/>
                </a:solidFill>
                <a:effectLst/>
                <a:uLnTx/>
                <a:uFillTx/>
                <a:latin typeface="Verdana"/>
                <a:ea typeface="+mn-ea"/>
                <a:cs typeface="Verdana"/>
              </a:rPr>
              <a:t> </a:t>
            </a:r>
            <a:r>
              <a:rPr kumimoji="0" sz="1700" b="0" i="0" u="none" strike="noStrike" kern="1200" cap="none" spc="-40" normalizeH="0" baseline="0" noProof="0" dirty="0">
                <a:ln>
                  <a:noFill/>
                </a:ln>
                <a:solidFill>
                  <a:srgbClr val="FFFFFF"/>
                </a:solidFill>
                <a:effectLst/>
                <a:uLnTx/>
                <a:uFillTx/>
                <a:latin typeface="Verdana"/>
                <a:ea typeface="+mn-ea"/>
                <a:cs typeface="Verdana"/>
              </a:rPr>
              <a:t>in</a:t>
            </a:r>
            <a:r>
              <a:rPr kumimoji="0" sz="1700" b="0" i="0" u="none" strike="noStrike" kern="1200" cap="none" spc="145" normalizeH="0" baseline="0" noProof="0" dirty="0">
                <a:ln>
                  <a:noFill/>
                </a:ln>
                <a:solidFill>
                  <a:srgbClr val="FFFFFF"/>
                </a:solidFill>
                <a:effectLst/>
                <a:uLnTx/>
                <a:uFillTx/>
                <a:latin typeface="Verdana"/>
                <a:ea typeface="+mn-ea"/>
                <a:cs typeface="Verdana"/>
              </a:rPr>
              <a:t> </a:t>
            </a:r>
            <a:r>
              <a:rPr kumimoji="0" sz="1700" b="0" i="0" u="none" strike="noStrike" kern="1200" cap="none" spc="-70" normalizeH="0" baseline="0" noProof="0" dirty="0">
                <a:ln>
                  <a:noFill/>
                </a:ln>
                <a:solidFill>
                  <a:srgbClr val="FFFFFF"/>
                </a:solidFill>
                <a:effectLst/>
                <a:uLnTx/>
                <a:uFillTx/>
                <a:latin typeface="Verdana"/>
                <a:ea typeface="+mn-ea"/>
                <a:cs typeface="Verdana"/>
              </a:rPr>
              <a:t>vibrancy,</a:t>
            </a:r>
            <a:r>
              <a:rPr kumimoji="0" sz="1700" b="0" i="0" u="none" strike="noStrike" kern="1200" cap="none" spc="105" normalizeH="0" baseline="0" noProof="0" dirty="0">
                <a:ln>
                  <a:noFill/>
                </a:ln>
                <a:solidFill>
                  <a:srgbClr val="FFFFFF"/>
                </a:solidFill>
                <a:effectLst/>
                <a:uLnTx/>
                <a:uFillTx/>
                <a:latin typeface="Verdana"/>
                <a:ea typeface="+mn-ea"/>
                <a:cs typeface="Verdana"/>
              </a:rPr>
              <a:t> </a:t>
            </a:r>
            <a:r>
              <a:rPr kumimoji="0" sz="1700" b="0" i="0" u="none" strike="noStrike" kern="1200" cap="none" spc="-70" normalizeH="0" baseline="0" noProof="0" dirty="0">
                <a:ln>
                  <a:noFill/>
                </a:ln>
                <a:solidFill>
                  <a:srgbClr val="FFFFFF"/>
                </a:solidFill>
                <a:effectLst/>
                <a:uLnTx/>
                <a:uFillTx/>
                <a:latin typeface="Verdana"/>
                <a:ea typeface="+mn-ea"/>
                <a:cs typeface="Verdana"/>
              </a:rPr>
              <a:t>with</a:t>
            </a:r>
            <a:r>
              <a:rPr kumimoji="0" sz="1700" b="0" i="0" u="none" strike="noStrike" kern="1200" cap="none" spc="145" normalizeH="0" baseline="0" noProof="0" dirty="0">
                <a:ln>
                  <a:noFill/>
                </a:ln>
                <a:solidFill>
                  <a:srgbClr val="FFFFFF"/>
                </a:solidFill>
                <a:effectLst/>
                <a:uLnTx/>
                <a:uFillTx/>
                <a:latin typeface="Verdana"/>
                <a:ea typeface="+mn-ea"/>
                <a:cs typeface="Verdana"/>
              </a:rPr>
              <a:t> </a:t>
            </a:r>
            <a:r>
              <a:rPr kumimoji="0" sz="1700" b="0" i="0" u="none" strike="noStrike" kern="1200" cap="none" spc="-30" normalizeH="0" baseline="0" noProof="0" dirty="0">
                <a:ln>
                  <a:noFill/>
                </a:ln>
                <a:solidFill>
                  <a:srgbClr val="FFFFFF"/>
                </a:solidFill>
                <a:effectLst/>
                <a:uLnTx/>
                <a:uFillTx/>
                <a:latin typeface="Verdana"/>
                <a:ea typeface="+mn-ea"/>
                <a:cs typeface="Verdana"/>
              </a:rPr>
              <a:t>about</a:t>
            </a:r>
            <a:r>
              <a:rPr kumimoji="0" sz="1700" b="0" i="0" u="none" strike="noStrike" kern="1200" cap="none" spc="170" normalizeH="0" baseline="0" noProof="0" dirty="0">
                <a:ln>
                  <a:noFill/>
                </a:ln>
                <a:solidFill>
                  <a:srgbClr val="FFFFFF"/>
                </a:solidFill>
                <a:effectLst/>
                <a:uLnTx/>
                <a:uFillTx/>
                <a:latin typeface="Verdana"/>
                <a:ea typeface="+mn-ea"/>
                <a:cs typeface="Verdana"/>
              </a:rPr>
              <a:t> </a:t>
            </a:r>
            <a:r>
              <a:rPr kumimoji="0" sz="1700" b="0" i="0" u="none" strike="noStrike" kern="1200" cap="none" spc="-70" normalizeH="0" baseline="0" noProof="0" dirty="0">
                <a:ln>
                  <a:noFill/>
                </a:ln>
                <a:solidFill>
                  <a:srgbClr val="FFFFFF"/>
                </a:solidFill>
                <a:effectLst/>
                <a:uLnTx/>
                <a:uFillTx/>
                <a:latin typeface="Verdana"/>
                <a:ea typeface="+mn-ea"/>
                <a:cs typeface="Verdana"/>
              </a:rPr>
              <a:t>36,000</a:t>
            </a:r>
            <a:r>
              <a:rPr kumimoji="0" sz="1700" b="0" i="0" u="none" strike="noStrike" kern="1200" cap="none" spc="140" normalizeH="0" baseline="0" noProof="0" dirty="0">
                <a:ln>
                  <a:noFill/>
                </a:ln>
                <a:solidFill>
                  <a:srgbClr val="FFFFFF"/>
                </a:solidFill>
                <a:effectLst/>
                <a:uLnTx/>
                <a:uFillTx/>
                <a:latin typeface="Verdana"/>
                <a:ea typeface="+mn-ea"/>
                <a:cs typeface="Verdana"/>
              </a:rPr>
              <a:t> </a:t>
            </a:r>
            <a:r>
              <a:rPr kumimoji="0" sz="1700" b="0" i="0" u="none" strike="noStrike" kern="1200" cap="none" spc="-65" normalizeH="0" baseline="0" noProof="0" dirty="0">
                <a:ln>
                  <a:noFill/>
                </a:ln>
                <a:solidFill>
                  <a:srgbClr val="FFFFFF"/>
                </a:solidFill>
                <a:effectLst/>
                <a:uLnTx/>
                <a:uFillTx/>
                <a:latin typeface="Verdana"/>
                <a:ea typeface="+mn-ea"/>
                <a:cs typeface="Verdana"/>
              </a:rPr>
              <a:t>startups</a:t>
            </a:r>
            <a:r>
              <a:rPr kumimoji="0" sz="1700" b="0" i="0" u="none" strike="noStrike" kern="1200" cap="none" spc="175" normalizeH="0" baseline="0" noProof="0" dirty="0">
                <a:ln>
                  <a:noFill/>
                </a:ln>
                <a:solidFill>
                  <a:srgbClr val="FFFFFF"/>
                </a:solidFill>
                <a:effectLst/>
                <a:uLnTx/>
                <a:uFillTx/>
                <a:latin typeface="Verdana"/>
                <a:ea typeface="+mn-ea"/>
                <a:cs typeface="Verdana"/>
              </a:rPr>
              <a:t> </a:t>
            </a:r>
            <a:r>
              <a:rPr kumimoji="0" sz="1700" b="0" i="0" u="none" strike="noStrike" kern="1200" cap="none" spc="-5" normalizeH="0" baseline="0" noProof="0" dirty="0">
                <a:ln>
                  <a:noFill/>
                </a:ln>
                <a:solidFill>
                  <a:srgbClr val="FFFFFF"/>
                </a:solidFill>
                <a:effectLst/>
                <a:uLnTx/>
                <a:uFillTx/>
                <a:latin typeface="Verdana"/>
                <a:ea typeface="+mn-ea"/>
                <a:cs typeface="Verdana"/>
              </a:rPr>
              <a:t>choosing</a:t>
            </a:r>
            <a:r>
              <a:rPr kumimoji="0" sz="1700" b="0" i="0" u="none" strike="noStrike" kern="1200" cap="none" spc="165" normalizeH="0" baseline="0" noProof="0" dirty="0">
                <a:ln>
                  <a:noFill/>
                </a:ln>
                <a:solidFill>
                  <a:srgbClr val="FFFFFF"/>
                </a:solidFill>
                <a:effectLst/>
                <a:uLnTx/>
                <a:uFillTx/>
                <a:latin typeface="Verdana"/>
                <a:ea typeface="+mn-ea"/>
                <a:cs typeface="Verdana"/>
              </a:rPr>
              <a:t> </a:t>
            </a:r>
            <a:r>
              <a:rPr kumimoji="0" sz="1700" b="0" i="0" u="none" strike="noStrike" kern="1200" cap="none" spc="-45" normalizeH="0" baseline="0" noProof="0" dirty="0">
                <a:ln>
                  <a:noFill/>
                </a:ln>
                <a:solidFill>
                  <a:srgbClr val="FFFFFF"/>
                </a:solidFill>
                <a:effectLst/>
                <a:uLnTx/>
                <a:uFillTx/>
                <a:latin typeface="Verdana"/>
                <a:ea typeface="+mn-ea"/>
                <a:cs typeface="Verdana"/>
              </a:rPr>
              <a:t>to</a:t>
            </a:r>
            <a:r>
              <a:rPr kumimoji="0" sz="1700" b="0" i="0" u="none" strike="noStrike" kern="1200" cap="none" spc="140" normalizeH="0" baseline="0" noProof="0" dirty="0">
                <a:ln>
                  <a:noFill/>
                </a:ln>
                <a:solidFill>
                  <a:srgbClr val="FFFFFF"/>
                </a:solidFill>
                <a:effectLst/>
                <a:uLnTx/>
                <a:uFillTx/>
                <a:latin typeface="Verdana"/>
                <a:ea typeface="+mn-ea"/>
                <a:cs typeface="Verdana"/>
              </a:rPr>
              <a:t> </a:t>
            </a:r>
            <a:r>
              <a:rPr kumimoji="0" sz="1700" b="0" i="0" u="none" strike="noStrike" kern="1200" cap="none" spc="-25" normalizeH="0" baseline="0" noProof="0" dirty="0">
                <a:ln>
                  <a:noFill/>
                </a:ln>
                <a:solidFill>
                  <a:srgbClr val="FFFFFF"/>
                </a:solidFill>
                <a:effectLst/>
                <a:uLnTx/>
                <a:uFillTx/>
                <a:latin typeface="Verdana"/>
                <a:ea typeface="+mn-ea"/>
                <a:cs typeface="Verdana"/>
              </a:rPr>
              <a:t>locate</a:t>
            </a:r>
            <a:endParaRPr kumimoji="0" sz="1700" b="0" i="0" u="none" strike="noStrike" kern="1200" cap="none" spc="0" normalizeH="0" baseline="0" noProof="0">
              <a:ln>
                <a:noFill/>
              </a:ln>
              <a:solidFill>
                <a:prstClr val="black"/>
              </a:solidFill>
              <a:effectLst/>
              <a:uLnTx/>
              <a:uFillTx/>
              <a:latin typeface="Verdana"/>
              <a:ea typeface="+mn-ea"/>
              <a:cs typeface="Verdana"/>
            </a:endParaRPr>
          </a:p>
          <a:p>
            <a:pPr marL="283845" marR="0" lvl="0" indent="0" algn="l" defTabSz="914400" rtl="0" eaLnBrk="1" fontAlgn="auto" latinLnBrk="0" hangingPunct="1">
              <a:lnSpc>
                <a:spcPct val="100000"/>
              </a:lnSpc>
              <a:spcBef>
                <a:spcPts val="95"/>
              </a:spcBef>
              <a:spcAft>
                <a:spcPts val="0"/>
              </a:spcAft>
              <a:buClrTx/>
              <a:buSzTx/>
              <a:buFontTx/>
              <a:buNone/>
              <a:tabLst/>
              <a:defRPr/>
            </a:pPr>
            <a:r>
              <a:rPr kumimoji="0" sz="1700" b="0" i="0" u="none" strike="noStrike" kern="1200" cap="none" spc="-55" normalizeH="0" baseline="0" noProof="0" dirty="0">
                <a:ln>
                  <a:noFill/>
                </a:ln>
                <a:solidFill>
                  <a:srgbClr val="FFFFFF"/>
                </a:solidFill>
                <a:effectLst/>
                <a:uLnTx/>
                <a:uFillTx/>
                <a:latin typeface="Verdana"/>
                <a:ea typeface="+mn-ea"/>
                <a:cs typeface="Verdana"/>
              </a:rPr>
              <a:t>themselves </a:t>
            </a:r>
            <a:r>
              <a:rPr kumimoji="0" sz="1700" b="0" i="0" u="none" strike="noStrike" kern="1200" cap="none" spc="-40" normalizeH="0" baseline="0" noProof="0" dirty="0">
                <a:ln>
                  <a:noFill/>
                </a:ln>
                <a:solidFill>
                  <a:srgbClr val="FFFFFF"/>
                </a:solidFill>
                <a:effectLst/>
                <a:uLnTx/>
                <a:uFillTx/>
                <a:latin typeface="Verdana"/>
                <a:ea typeface="+mn-ea"/>
                <a:cs typeface="Verdana"/>
              </a:rPr>
              <a:t>in </a:t>
            </a:r>
            <a:r>
              <a:rPr kumimoji="0" sz="1700" b="0" i="0" u="none" strike="noStrike" kern="1200" cap="none" spc="-35" normalizeH="0" baseline="0" noProof="0" dirty="0">
                <a:ln>
                  <a:noFill/>
                </a:ln>
                <a:solidFill>
                  <a:srgbClr val="FFFFFF"/>
                </a:solidFill>
                <a:effectLst/>
                <a:uLnTx/>
                <a:uFillTx/>
                <a:latin typeface="Verdana"/>
                <a:ea typeface="+mn-ea"/>
                <a:cs typeface="Verdana"/>
              </a:rPr>
              <a:t>Singapore, </a:t>
            </a:r>
            <a:r>
              <a:rPr kumimoji="0" sz="1700" b="0" i="0" u="none" strike="noStrike" kern="1200" cap="none" spc="-100" normalizeH="0" baseline="0" noProof="0" dirty="0">
                <a:ln>
                  <a:noFill/>
                </a:ln>
                <a:solidFill>
                  <a:srgbClr val="FFFFFF"/>
                </a:solidFill>
                <a:effectLst/>
                <a:uLnTx/>
                <a:uFillTx/>
                <a:latin typeface="Verdana"/>
                <a:ea typeface="+mn-ea"/>
                <a:cs typeface="Verdana"/>
              </a:rPr>
              <a:t>many </a:t>
            </a:r>
            <a:r>
              <a:rPr kumimoji="0" sz="1700" b="0" i="0" u="none" strike="noStrike" kern="1200" cap="none" spc="-25" normalizeH="0" baseline="0" noProof="0" dirty="0">
                <a:ln>
                  <a:noFill/>
                </a:ln>
                <a:solidFill>
                  <a:srgbClr val="FFFFFF"/>
                </a:solidFill>
                <a:effectLst/>
                <a:uLnTx/>
                <a:uFillTx/>
                <a:latin typeface="Verdana"/>
                <a:ea typeface="+mn-ea"/>
                <a:cs typeface="Verdana"/>
              </a:rPr>
              <a:t>of </a:t>
            </a:r>
            <a:r>
              <a:rPr kumimoji="0" sz="1700" b="0" i="0" u="none" strike="noStrike" kern="1200" cap="none" spc="-35" normalizeH="0" baseline="0" noProof="0" dirty="0">
                <a:ln>
                  <a:noFill/>
                </a:ln>
                <a:solidFill>
                  <a:srgbClr val="FFFFFF"/>
                </a:solidFill>
                <a:effectLst/>
                <a:uLnTx/>
                <a:uFillTx/>
                <a:latin typeface="Verdana"/>
                <a:ea typeface="+mn-ea"/>
                <a:cs typeface="Verdana"/>
              </a:rPr>
              <a:t>which </a:t>
            </a:r>
            <a:r>
              <a:rPr kumimoji="0" sz="1700" b="0" i="0" u="none" strike="noStrike" kern="1200" cap="none" spc="-65" normalizeH="0" baseline="0" noProof="0" dirty="0">
                <a:ln>
                  <a:noFill/>
                </a:ln>
                <a:solidFill>
                  <a:srgbClr val="FFFFFF"/>
                </a:solidFill>
                <a:effectLst/>
                <a:uLnTx/>
                <a:uFillTx/>
                <a:latin typeface="Verdana"/>
                <a:ea typeface="+mn-ea"/>
                <a:cs typeface="Verdana"/>
              </a:rPr>
              <a:t>are </a:t>
            </a:r>
            <a:r>
              <a:rPr kumimoji="0" sz="1700" b="0" i="0" u="none" strike="noStrike" kern="1200" cap="none" spc="-20" normalizeH="0" baseline="0" noProof="0" dirty="0">
                <a:ln>
                  <a:noFill/>
                </a:ln>
                <a:solidFill>
                  <a:srgbClr val="FFFFFF"/>
                </a:solidFill>
                <a:effectLst/>
                <a:uLnTx/>
                <a:uFillTx/>
                <a:latin typeface="Verdana"/>
                <a:ea typeface="+mn-ea"/>
                <a:cs typeface="Verdana"/>
              </a:rPr>
              <a:t>built </a:t>
            </a:r>
            <a:r>
              <a:rPr kumimoji="0" sz="1700" b="0" i="0" u="none" strike="noStrike" kern="1200" cap="none" spc="-30" normalizeH="0" baseline="0" noProof="0" dirty="0">
                <a:ln>
                  <a:noFill/>
                </a:ln>
                <a:solidFill>
                  <a:srgbClr val="FFFFFF"/>
                </a:solidFill>
                <a:effectLst/>
                <a:uLnTx/>
                <a:uFillTx/>
                <a:latin typeface="Verdana"/>
                <a:ea typeface="+mn-ea"/>
                <a:cs typeface="Verdana"/>
              </a:rPr>
              <a:t>around </a:t>
            </a:r>
            <a:r>
              <a:rPr kumimoji="0" sz="1700" b="0" i="0" u="none" strike="noStrike" kern="1200" cap="none" spc="30" normalizeH="0" baseline="0" noProof="0" dirty="0">
                <a:ln>
                  <a:noFill/>
                </a:ln>
                <a:solidFill>
                  <a:srgbClr val="FFFFFF"/>
                </a:solidFill>
                <a:effectLst/>
                <a:uLnTx/>
                <a:uFillTx/>
                <a:latin typeface="Verdana"/>
                <a:ea typeface="+mn-ea"/>
                <a:cs typeface="Verdana"/>
              </a:rPr>
              <a:t>deep</a:t>
            </a:r>
            <a:r>
              <a:rPr kumimoji="0" sz="1700" b="0" i="0" u="none" strike="noStrike" kern="1200" cap="none" spc="-415" normalizeH="0" baseline="0" noProof="0" dirty="0">
                <a:ln>
                  <a:noFill/>
                </a:ln>
                <a:solidFill>
                  <a:srgbClr val="FFFFFF"/>
                </a:solidFill>
                <a:effectLst/>
                <a:uLnTx/>
                <a:uFillTx/>
                <a:latin typeface="Verdana"/>
                <a:ea typeface="+mn-ea"/>
                <a:cs typeface="Verdana"/>
              </a:rPr>
              <a:t> </a:t>
            </a:r>
            <a:r>
              <a:rPr kumimoji="0" sz="1700" b="0" i="0" u="none" strike="noStrike" kern="1200" cap="none" spc="-55" normalizeH="0" baseline="0" noProof="0" dirty="0">
                <a:ln>
                  <a:noFill/>
                </a:ln>
                <a:solidFill>
                  <a:srgbClr val="FFFFFF"/>
                </a:solidFill>
                <a:effectLst/>
                <a:uLnTx/>
                <a:uFillTx/>
                <a:latin typeface="Verdana"/>
                <a:ea typeface="+mn-ea"/>
                <a:cs typeface="Verdana"/>
              </a:rPr>
              <a:t>tech.</a:t>
            </a:r>
            <a:endParaRPr kumimoji="0" sz="17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303" y="256743"/>
            <a:ext cx="10777220" cy="454025"/>
          </a:xfrm>
          <a:prstGeom prst="rect">
            <a:avLst/>
          </a:prstGeom>
        </p:spPr>
        <p:txBody>
          <a:bodyPr vert="horz" wrap="square" lIns="0" tIns="13970" rIns="0" bIns="0" rtlCol="0">
            <a:spAutoFit/>
          </a:bodyPr>
          <a:lstStyle/>
          <a:p>
            <a:pPr marL="12700">
              <a:lnSpc>
                <a:spcPct val="100000"/>
              </a:lnSpc>
              <a:spcBef>
                <a:spcPts val="110"/>
              </a:spcBef>
            </a:pPr>
            <a:r>
              <a:rPr spc="330" dirty="0"/>
              <a:t>Patents</a:t>
            </a:r>
            <a:r>
              <a:rPr spc="170" dirty="0"/>
              <a:t> </a:t>
            </a:r>
            <a:r>
              <a:rPr spc="229" dirty="0"/>
              <a:t>Filed/</a:t>
            </a:r>
            <a:r>
              <a:rPr spc="-665" dirty="0"/>
              <a:t> </a:t>
            </a:r>
            <a:r>
              <a:rPr spc="275" dirty="0"/>
              <a:t>Awarded/</a:t>
            </a:r>
            <a:r>
              <a:rPr spc="-690" dirty="0"/>
              <a:t> </a:t>
            </a:r>
            <a:r>
              <a:rPr spc="285" dirty="0"/>
              <a:t>Owned</a:t>
            </a:r>
            <a:r>
              <a:rPr spc="185" dirty="0"/>
              <a:t> </a:t>
            </a:r>
            <a:r>
              <a:rPr spc="175" dirty="0"/>
              <a:t>vs</a:t>
            </a:r>
            <a:r>
              <a:rPr spc="195" dirty="0"/>
              <a:t> </a:t>
            </a:r>
            <a:r>
              <a:rPr spc="285" dirty="0"/>
              <a:t>Commercialised?</a:t>
            </a:r>
          </a:p>
        </p:txBody>
      </p:sp>
      <p:sp>
        <p:nvSpPr>
          <p:cNvPr id="3" name="object 3"/>
          <p:cNvSpPr/>
          <p:nvPr/>
        </p:nvSpPr>
        <p:spPr>
          <a:xfrm>
            <a:off x="466344" y="1091183"/>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10733023" y="6545681"/>
            <a:ext cx="1327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202184" y="6511849"/>
            <a:ext cx="2362200" cy="23812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 </a:t>
            </a:r>
            <a:r>
              <a:rPr kumimoji="0" sz="1400" b="0" i="0" u="none" strike="noStrike" kern="1200" cap="none" spc="-65" normalizeH="0" baseline="0" noProof="0" dirty="0">
                <a:ln>
                  <a:noFill/>
                </a:ln>
                <a:solidFill>
                  <a:srgbClr val="FFFFFF"/>
                </a:solidFill>
                <a:effectLst/>
                <a:uLnTx/>
                <a:uFillTx/>
                <a:latin typeface="Verdana"/>
                <a:ea typeface="+mn-ea"/>
                <a:cs typeface="Verdana"/>
              </a:rPr>
              <a:t>National </a:t>
            </a:r>
            <a:r>
              <a:rPr kumimoji="0" sz="1400" b="0" i="0" u="none" strike="noStrike" kern="1200" cap="none" spc="-70" normalizeH="0" baseline="0" noProof="0" dirty="0">
                <a:ln>
                  <a:noFill/>
                </a:ln>
                <a:solidFill>
                  <a:srgbClr val="FFFFFF"/>
                </a:solidFill>
                <a:effectLst/>
                <a:uLnTx/>
                <a:uFillTx/>
                <a:latin typeface="Verdana"/>
                <a:ea typeface="+mn-ea"/>
                <a:cs typeface="Verdana"/>
              </a:rPr>
              <a:t>R&amp;D</a:t>
            </a:r>
            <a:r>
              <a:rPr kumimoji="0" sz="1400" b="0" i="0" u="none" strike="noStrike" kern="1200" cap="none" spc="-215" normalizeH="0" baseline="0" noProof="0" dirty="0">
                <a:ln>
                  <a:noFill/>
                </a:ln>
                <a:solidFill>
                  <a:srgbClr val="FFFFFF"/>
                </a:solidFill>
                <a:effectLst/>
                <a:uLnTx/>
                <a:uFillTx/>
                <a:latin typeface="Verdana"/>
                <a:ea typeface="+mn-ea"/>
                <a:cs typeface="Verdana"/>
              </a:rPr>
              <a:t> </a:t>
            </a:r>
            <a:r>
              <a:rPr kumimoji="0" sz="1400" b="0" i="0" u="none" strike="noStrike" kern="1200" cap="none" spc="-114" normalizeH="0" baseline="0" noProof="0" dirty="0">
                <a:ln>
                  <a:noFill/>
                </a:ln>
                <a:solidFill>
                  <a:srgbClr val="FFFFFF"/>
                </a:solidFill>
                <a:effectLst/>
                <a:uLnTx/>
                <a:uFillTx/>
                <a:latin typeface="Verdana"/>
                <a:ea typeface="+mn-ea"/>
                <a:cs typeface="Verdana"/>
              </a:rPr>
              <a:t>Survey</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txBox="1"/>
          <p:nvPr/>
        </p:nvSpPr>
        <p:spPr>
          <a:xfrm>
            <a:off x="546303" y="1654250"/>
            <a:ext cx="3021330" cy="1978660"/>
          </a:xfrm>
          <a:prstGeom prst="rect">
            <a:avLst/>
          </a:prstGeom>
        </p:spPr>
        <p:txBody>
          <a:bodyPr vert="horz" wrap="square" lIns="0" tIns="13970" rIns="0" bIns="0" rtlCol="0">
            <a:spAutoFit/>
          </a:bodyPr>
          <a:lstStyle/>
          <a:p>
            <a:pPr marL="299085" marR="5080" lvl="0" indent="-287020" algn="l" defTabSz="914400" rtl="0" eaLnBrk="1" fontAlgn="auto" latinLnBrk="0" hangingPunct="1">
              <a:lnSpc>
                <a:spcPct val="100000"/>
              </a:lnSpc>
              <a:spcBef>
                <a:spcPts val="110"/>
              </a:spcBef>
              <a:spcAft>
                <a:spcPts val="0"/>
              </a:spcAft>
              <a:buClrTx/>
              <a:buSzTx/>
              <a:buFont typeface="Arial"/>
              <a:buChar char="•"/>
              <a:tabLst>
                <a:tab pos="299085" algn="l"/>
                <a:tab pos="299720" algn="l"/>
              </a:tabLst>
              <a:defRPr/>
            </a:pPr>
            <a:r>
              <a:rPr kumimoji="0" sz="1600" b="0" i="0" u="none" strike="noStrike" kern="1200" cap="none" spc="-175" normalizeH="0" baseline="0" noProof="0" dirty="0">
                <a:ln>
                  <a:noFill/>
                </a:ln>
                <a:solidFill>
                  <a:srgbClr val="FFFFFF"/>
                </a:solidFill>
                <a:effectLst/>
                <a:uLnTx/>
                <a:uFillTx/>
                <a:latin typeface="Verdana"/>
                <a:ea typeface="+mn-ea"/>
                <a:cs typeface="Verdana"/>
              </a:rPr>
              <a:t>In </a:t>
            </a:r>
            <a:r>
              <a:rPr kumimoji="0" sz="1600" b="0" i="0" u="none" strike="noStrike" kern="1200" cap="none" spc="-105" normalizeH="0" baseline="0" noProof="0" dirty="0">
                <a:ln>
                  <a:noFill/>
                </a:ln>
                <a:solidFill>
                  <a:srgbClr val="FFFFFF"/>
                </a:solidFill>
                <a:effectLst/>
                <a:uLnTx/>
                <a:uFillTx/>
                <a:latin typeface="Verdana"/>
                <a:ea typeface="+mn-ea"/>
                <a:cs typeface="Verdana"/>
              </a:rPr>
              <a:t>2018, </a:t>
            </a:r>
            <a:r>
              <a:rPr kumimoji="0" sz="1600" b="0" i="0" u="none" strike="noStrike" kern="1200" cap="none" spc="-80" normalizeH="0" baseline="0" noProof="0" dirty="0">
                <a:ln>
                  <a:noFill/>
                </a:ln>
                <a:solidFill>
                  <a:srgbClr val="FFFFFF"/>
                </a:solidFill>
                <a:effectLst/>
                <a:uLnTx/>
                <a:uFillTx/>
                <a:latin typeface="Verdana"/>
                <a:ea typeface="+mn-ea"/>
                <a:cs typeface="Verdana"/>
              </a:rPr>
              <a:t>the total </a:t>
            </a:r>
            <a:r>
              <a:rPr kumimoji="0" sz="1600" b="0" i="0" u="none" strike="noStrike" kern="1200" cap="none" spc="-70" normalizeH="0" baseline="0" noProof="0" dirty="0">
                <a:ln>
                  <a:noFill/>
                </a:ln>
                <a:solidFill>
                  <a:srgbClr val="FFFFFF"/>
                </a:solidFill>
                <a:effectLst/>
                <a:uLnTx/>
                <a:uFillTx/>
                <a:latin typeface="Verdana"/>
                <a:ea typeface="+mn-ea"/>
                <a:cs typeface="Verdana"/>
              </a:rPr>
              <a:t>number </a:t>
            </a:r>
            <a:r>
              <a:rPr kumimoji="0" sz="1600" b="0" i="0" u="none" strike="noStrike" kern="1200" cap="none" spc="-40" normalizeH="0" baseline="0" noProof="0" dirty="0">
                <a:ln>
                  <a:noFill/>
                </a:ln>
                <a:solidFill>
                  <a:srgbClr val="FFFFFF"/>
                </a:solidFill>
                <a:effectLst/>
                <a:uLnTx/>
                <a:uFillTx/>
                <a:latin typeface="Verdana"/>
                <a:ea typeface="+mn-ea"/>
                <a:cs typeface="Verdana"/>
              </a:rPr>
              <a:t>of  </a:t>
            </a:r>
            <a:r>
              <a:rPr kumimoji="0" sz="1600" b="0" i="0" u="none" strike="noStrike" kern="1200" cap="none" spc="-90" normalizeH="0" baseline="0" noProof="0" dirty="0">
                <a:ln>
                  <a:noFill/>
                </a:ln>
                <a:solidFill>
                  <a:srgbClr val="FFFFFF"/>
                </a:solidFill>
                <a:effectLst/>
                <a:uLnTx/>
                <a:uFillTx/>
                <a:latin typeface="Verdana"/>
                <a:ea typeface="+mn-ea"/>
                <a:cs typeface="Verdana"/>
              </a:rPr>
              <a:t>primary </a:t>
            </a:r>
            <a:r>
              <a:rPr kumimoji="0" sz="1600" b="0" i="0" u="none" strike="noStrike" kern="1200" cap="none" spc="-80" normalizeH="0" baseline="0" noProof="0" dirty="0">
                <a:ln>
                  <a:noFill/>
                </a:ln>
                <a:solidFill>
                  <a:srgbClr val="FFFFFF"/>
                </a:solidFill>
                <a:effectLst/>
                <a:uLnTx/>
                <a:uFillTx/>
                <a:latin typeface="Verdana"/>
                <a:ea typeface="+mn-ea"/>
                <a:cs typeface="Verdana"/>
              </a:rPr>
              <a:t>patent </a:t>
            </a:r>
            <a:r>
              <a:rPr kumimoji="0" sz="1600" b="0" i="0" u="none" strike="noStrike" kern="1200" cap="none" spc="-55" normalizeH="0" baseline="0" noProof="0" dirty="0">
                <a:ln>
                  <a:noFill/>
                </a:ln>
                <a:solidFill>
                  <a:srgbClr val="FFFFFF"/>
                </a:solidFill>
                <a:effectLst/>
                <a:uLnTx/>
                <a:uFillTx/>
                <a:latin typeface="Verdana"/>
                <a:ea typeface="+mn-ea"/>
                <a:cs typeface="Verdana"/>
              </a:rPr>
              <a:t>applications  </a:t>
            </a:r>
            <a:r>
              <a:rPr kumimoji="0" sz="1600" b="0" i="0" u="none" strike="noStrike" kern="1200" cap="none" spc="-120" normalizeH="0" baseline="0" noProof="0" dirty="0">
                <a:ln>
                  <a:noFill/>
                </a:ln>
                <a:solidFill>
                  <a:srgbClr val="FFFFFF"/>
                </a:solidFill>
                <a:effectLst/>
                <a:uLnTx/>
                <a:uFillTx/>
                <a:latin typeface="Verdana"/>
                <a:ea typeface="+mn-ea"/>
                <a:cs typeface="Verdana"/>
              </a:rPr>
              <a:t>(first </a:t>
            </a:r>
            <a:r>
              <a:rPr kumimoji="0" sz="1600" b="0" i="0" u="none" strike="noStrike" kern="1200" cap="none" spc="-80" normalizeH="0" baseline="0" noProof="0" dirty="0">
                <a:ln>
                  <a:noFill/>
                </a:ln>
                <a:solidFill>
                  <a:srgbClr val="FFFFFF"/>
                </a:solidFill>
                <a:effectLst/>
                <a:uLnTx/>
                <a:uFillTx/>
                <a:latin typeface="Verdana"/>
                <a:ea typeface="+mn-ea"/>
                <a:cs typeface="Verdana"/>
              </a:rPr>
              <a:t>filings) </a:t>
            </a:r>
            <a:r>
              <a:rPr kumimoji="0" sz="1600" b="0" i="0" u="none" strike="noStrike" kern="1200" cap="none" spc="-114" normalizeH="0" baseline="0" noProof="0" dirty="0">
                <a:ln>
                  <a:noFill/>
                </a:ln>
                <a:solidFill>
                  <a:srgbClr val="FFFFFF"/>
                </a:solidFill>
                <a:effectLst/>
                <a:uLnTx/>
                <a:uFillTx/>
                <a:latin typeface="Verdana"/>
                <a:ea typeface="+mn-ea"/>
                <a:cs typeface="Verdana"/>
              </a:rPr>
              <a:t>as </a:t>
            </a:r>
            <a:r>
              <a:rPr kumimoji="0" sz="1600" b="0" i="0" u="none" strike="noStrike" kern="1200" cap="none" spc="-105" normalizeH="0" baseline="0" noProof="0" dirty="0">
                <a:ln>
                  <a:noFill/>
                </a:ln>
                <a:solidFill>
                  <a:srgbClr val="FFFFFF"/>
                </a:solidFill>
                <a:effectLst/>
                <a:uLnTx/>
                <a:uFillTx/>
                <a:latin typeface="Verdana"/>
                <a:ea typeface="+mn-ea"/>
                <a:cs typeface="Verdana"/>
              </a:rPr>
              <a:t>a </a:t>
            </a:r>
            <a:r>
              <a:rPr kumimoji="0" sz="1600" b="0" i="0" u="none" strike="noStrike" kern="1200" cap="none" spc="-90" normalizeH="0" baseline="0" noProof="0" dirty="0">
                <a:ln>
                  <a:noFill/>
                </a:ln>
                <a:solidFill>
                  <a:srgbClr val="FFFFFF"/>
                </a:solidFill>
                <a:effectLst/>
                <a:uLnTx/>
                <a:uFillTx/>
                <a:latin typeface="Verdana"/>
                <a:ea typeface="+mn-ea"/>
                <a:cs typeface="Verdana"/>
              </a:rPr>
              <a:t>result </a:t>
            </a:r>
            <a:r>
              <a:rPr kumimoji="0" sz="1600" b="0" i="0" u="none" strike="noStrike" kern="1200" cap="none" spc="-40" normalizeH="0" baseline="0" noProof="0" dirty="0">
                <a:ln>
                  <a:noFill/>
                </a:ln>
                <a:solidFill>
                  <a:srgbClr val="FFFFFF"/>
                </a:solidFill>
                <a:effectLst/>
                <a:uLnTx/>
                <a:uFillTx/>
                <a:latin typeface="Verdana"/>
                <a:ea typeface="+mn-ea"/>
                <a:cs typeface="Verdana"/>
              </a:rPr>
              <a:t>of  </a:t>
            </a:r>
            <a:r>
              <a:rPr kumimoji="0" sz="1600" b="0" i="0" u="none" strike="noStrike" kern="1200" cap="none" spc="-70" normalizeH="0" baseline="0" noProof="0" dirty="0">
                <a:ln>
                  <a:noFill/>
                </a:ln>
                <a:solidFill>
                  <a:srgbClr val="FFFFFF"/>
                </a:solidFill>
                <a:effectLst/>
                <a:uLnTx/>
                <a:uFillTx/>
                <a:latin typeface="Verdana"/>
                <a:ea typeface="+mn-ea"/>
                <a:cs typeface="Verdana"/>
              </a:rPr>
              <a:t>R&amp;D</a:t>
            </a:r>
            <a:r>
              <a:rPr kumimoji="0" sz="1600" b="0" i="0" u="none" strike="noStrike" kern="1200" cap="none" spc="-200" normalizeH="0" baseline="0" noProof="0" dirty="0">
                <a:ln>
                  <a:noFill/>
                </a:ln>
                <a:solidFill>
                  <a:srgbClr val="FFFFFF"/>
                </a:solidFill>
                <a:effectLst/>
                <a:uLnTx/>
                <a:uFillTx/>
                <a:latin typeface="Verdana"/>
                <a:ea typeface="+mn-ea"/>
                <a:cs typeface="Verdana"/>
              </a:rPr>
              <a:t> </a:t>
            </a:r>
            <a:r>
              <a:rPr kumimoji="0" sz="1600" b="0" i="0" u="none" strike="noStrike" kern="1200" cap="none" spc="-35" normalizeH="0" baseline="0" noProof="0" dirty="0">
                <a:ln>
                  <a:noFill/>
                </a:ln>
                <a:solidFill>
                  <a:srgbClr val="FFFFFF"/>
                </a:solidFill>
                <a:effectLst/>
                <a:uLnTx/>
                <a:uFillTx/>
                <a:latin typeface="Verdana"/>
                <a:ea typeface="+mn-ea"/>
                <a:cs typeface="Verdana"/>
              </a:rPr>
              <a:t>conducted</a:t>
            </a:r>
            <a:r>
              <a:rPr kumimoji="0" sz="1600" b="0" i="0" u="none" strike="noStrike" kern="1200" cap="none" spc="-235" normalizeH="0" baseline="0" noProof="0" dirty="0">
                <a:ln>
                  <a:noFill/>
                </a:ln>
                <a:solidFill>
                  <a:srgbClr val="FFFFFF"/>
                </a:solidFill>
                <a:effectLst/>
                <a:uLnTx/>
                <a:uFillTx/>
                <a:latin typeface="Verdana"/>
                <a:ea typeface="+mn-ea"/>
                <a:cs typeface="Verdana"/>
              </a:rPr>
              <a:t> </a:t>
            </a:r>
            <a:r>
              <a:rPr kumimoji="0" sz="1600" b="0" i="0" u="none" strike="noStrike" kern="1200" cap="none" spc="-60" normalizeH="0" baseline="0" noProof="0" dirty="0">
                <a:ln>
                  <a:noFill/>
                </a:ln>
                <a:solidFill>
                  <a:srgbClr val="FFFFFF"/>
                </a:solidFill>
                <a:effectLst/>
                <a:uLnTx/>
                <a:uFillTx/>
                <a:latin typeface="Verdana"/>
                <a:ea typeface="+mn-ea"/>
                <a:cs typeface="Verdana"/>
              </a:rPr>
              <a:t>in</a:t>
            </a:r>
            <a:r>
              <a:rPr kumimoji="0" sz="1600" b="0" i="0" u="none" strike="noStrike" kern="1200" cap="none" spc="-195" normalizeH="0" baseline="0" noProof="0" dirty="0">
                <a:ln>
                  <a:noFill/>
                </a:ln>
                <a:solidFill>
                  <a:srgbClr val="FFFFFF"/>
                </a:solidFill>
                <a:effectLst/>
                <a:uLnTx/>
                <a:uFillTx/>
                <a:latin typeface="Verdana"/>
                <a:ea typeface="+mn-ea"/>
                <a:cs typeface="Verdana"/>
              </a:rPr>
              <a:t> </a:t>
            </a:r>
            <a:r>
              <a:rPr kumimoji="0" sz="1600" b="0" i="0" u="none" strike="noStrike" kern="1200" cap="none" spc="-60" normalizeH="0" baseline="0" noProof="0" dirty="0">
                <a:ln>
                  <a:noFill/>
                </a:ln>
                <a:solidFill>
                  <a:srgbClr val="FFFFFF"/>
                </a:solidFill>
                <a:effectLst/>
                <a:uLnTx/>
                <a:uFillTx/>
                <a:latin typeface="Verdana"/>
                <a:ea typeface="+mn-ea"/>
                <a:cs typeface="Verdana"/>
              </a:rPr>
              <a:t>Singapore  </a:t>
            </a:r>
            <a:r>
              <a:rPr kumimoji="0" sz="1600" b="0" i="0" u="none" strike="noStrike" kern="1200" cap="none" spc="-40" normalizeH="0" baseline="0" noProof="0" dirty="0">
                <a:ln>
                  <a:noFill/>
                </a:ln>
                <a:solidFill>
                  <a:srgbClr val="FFFFFF"/>
                </a:solidFill>
                <a:effectLst/>
                <a:uLnTx/>
                <a:uFillTx/>
                <a:latin typeface="Verdana"/>
                <a:ea typeface="+mn-ea"/>
                <a:cs typeface="Verdana"/>
              </a:rPr>
              <a:t>stood </a:t>
            </a:r>
            <a:r>
              <a:rPr kumimoji="0" sz="1600" b="0" i="0" u="none" strike="noStrike" kern="1200" cap="none" spc="-125" normalizeH="0" baseline="0" noProof="0" dirty="0">
                <a:ln>
                  <a:noFill/>
                </a:ln>
                <a:solidFill>
                  <a:srgbClr val="FFFFFF"/>
                </a:solidFill>
                <a:effectLst/>
                <a:uLnTx/>
                <a:uFillTx/>
                <a:latin typeface="Verdana"/>
                <a:ea typeface="+mn-ea"/>
                <a:cs typeface="Verdana"/>
              </a:rPr>
              <a:t>at </a:t>
            </a:r>
            <a:r>
              <a:rPr kumimoji="0" sz="1600" b="0" i="0" u="none" strike="noStrike" kern="1200" cap="none" spc="-120" normalizeH="0" baseline="0" noProof="0" dirty="0">
                <a:ln>
                  <a:noFill/>
                </a:ln>
                <a:solidFill>
                  <a:srgbClr val="FFFFFF"/>
                </a:solidFill>
                <a:effectLst/>
                <a:uLnTx/>
                <a:uFillTx/>
                <a:latin typeface="Verdana"/>
                <a:ea typeface="+mn-ea"/>
                <a:cs typeface="Verdana"/>
              </a:rPr>
              <a:t>2,896. </a:t>
            </a:r>
            <a:r>
              <a:rPr kumimoji="0" sz="1600" b="0" i="0" u="none" strike="noStrike" kern="1200" cap="none" spc="-85" normalizeH="0" baseline="0" noProof="0" dirty="0">
                <a:ln>
                  <a:noFill/>
                </a:ln>
                <a:solidFill>
                  <a:srgbClr val="FFFFFF"/>
                </a:solidFill>
                <a:effectLst/>
                <a:uLnTx/>
                <a:uFillTx/>
                <a:latin typeface="Verdana"/>
                <a:ea typeface="+mn-ea"/>
                <a:cs typeface="Verdana"/>
              </a:rPr>
              <a:t>This  represents </a:t>
            </a:r>
            <a:r>
              <a:rPr kumimoji="0" sz="1600" b="0" i="0" u="none" strike="noStrike" kern="1200" cap="none" spc="-105" normalizeH="0" baseline="0" noProof="0" dirty="0">
                <a:ln>
                  <a:noFill/>
                </a:ln>
                <a:solidFill>
                  <a:srgbClr val="FFFFFF"/>
                </a:solidFill>
                <a:effectLst/>
                <a:uLnTx/>
                <a:uFillTx/>
                <a:latin typeface="Verdana"/>
                <a:ea typeface="+mn-ea"/>
                <a:cs typeface="Verdana"/>
              </a:rPr>
              <a:t>a </a:t>
            </a:r>
            <a:r>
              <a:rPr kumimoji="0" sz="1600" b="0" i="0" u="none" strike="noStrike" kern="1200" cap="none" spc="-35" normalizeH="0" baseline="0" noProof="0" dirty="0">
                <a:ln>
                  <a:noFill/>
                </a:ln>
                <a:solidFill>
                  <a:srgbClr val="FFFFFF"/>
                </a:solidFill>
                <a:effectLst/>
                <a:uLnTx/>
                <a:uFillTx/>
                <a:latin typeface="Verdana"/>
                <a:ea typeface="+mn-ea"/>
                <a:cs typeface="Verdana"/>
              </a:rPr>
              <a:t>CAGR </a:t>
            </a:r>
            <a:r>
              <a:rPr kumimoji="0" sz="1600" b="0" i="0" u="none" strike="noStrike" kern="1200" cap="none" spc="-40" normalizeH="0" baseline="0" noProof="0" dirty="0">
                <a:ln>
                  <a:noFill/>
                </a:ln>
                <a:solidFill>
                  <a:srgbClr val="FFFFFF"/>
                </a:solidFill>
                <a:effectLst/>
                <a:uLnTx/>
                <a:uFillTx/>
                <a:latin typeface="Verdana"/>
                <a:ea typeface="+mn-ea"/>
                <a:cs typeface="Verdana"/>
              </a:rPr>
              <a:t>of </a:t>
            </a:r>
            <a:r>
              <a:rPr kumimoji="0" sz="1600" b="0" i="0" u="none" strike="noStrike" kern="1200" cap="none" spc="-190" normalizeH="0" baseline="0" noProof="0" dirty="0">
                <a:ln>
                  <a:noFill/>
                </a:ln>
                <a:solidFill>
                  <a:srgbClr val="FFFFFF"/>
                </a:solidFill>
                <a:effectLst/>
                <a:uLnTx/>
                <a:uFillTx/>
                <a:latin typeface="Verdana"/>
                <a:ea typeface="+mn-ea"/>
                <a:cs typeface="Verdana"/>
              </a:rPr>
              <a:t>6.2%  </a:t>
            </a:r>
            <a:r>
              <a:rPr kumimoji="0" sz="1600" b="0" i="0" u="none" strike="noStrike" kern="1200" cap="none" spc="-90" normalizeH="0" baseline="0" noProof="0" dirty="0">
                <a:ln>
                  <a:noFill/>
                </a:ln>
                <a:solidFill>
                  <a:srgbClr val="FFFFFF"/>
                </a:solidFill>
                <a:effectLst/>
                <a:uLnTx/>
                <a:uFillTx/>
                <a:latin typeface="Verdana"/>
                <a:ea typeface="+mn-ea"/>
                <a:cs typeface="Verdana"/>
              </a:rPr>
              <a:t>from </a:t>
            </a:r>
            <a:r>
              <a:rPr kumimoji="0" sz="1600" b="0" i="0" u="none" strike="noStrike" kern="1200" cap="none" spc="-105" normalizeH="0" baseline="0" noProof="0" dirty="0">
                <a:ln>
                  <a:noFill/>
                </a:ln>
                <a:solidFill>
                  <a:srgbClr val="FFFFFF"/>
                </a:solidFill>
                <a:effectLst/>
                <a:uLnTx/>
                <a:uFillTx/>
                <a:latin typeface="Verdana"/>
                <a:ea typeface="+mn-ea"/>
                <a:cs typeface="Verdana"/>
              </a:rPr>
              <a:t>1,581 </a:t>
            </a:r>
            <a:r>
              <a:rPr kumimoji="0" sz="1600" b="0" i="0" u="none" strike="noStrike" kern="1200" cap="none" spc="-85" normalizeH="0" baseline="0" noProof="0" dirty="0">
                <a:ln>
                  <a:noFill/>
                </a:ln>
                <a:solidFill>
                  <a:srgbClr val="FFFFFF"/>
                </a:solidFill>
                <a:effectLst/>
                <a:uLnTx/>
                <a:uFillTx/>
                <a:latin typeface="Verdana"/>
                <a:ea typeface="+mn-ea"/>
                <a:cs typeface="Verdana"/>
              </a:rPr>
              <a:t>patents </a:t>
            </a:r>
            <a:r>
              <a:rPr kumimoji="0" sz="1600" b="0" i="0" u="none" strike="noStrike" kern="1200" cap="none" spc="-35" normalizeH="0" baseline="0" noProof="0" dirty="0">
                <a:ln>
                  <a:noFill/>
                </a:ln>
                <a:solidFill>
                  <a:srgbClr val="FFFFFF"/>
                </a:solidFill>
                <a:effectLst/>
                <a:uLnTx/>
                <a:uFillTx/>
                <a:latin typeface="Verdana"/>
                <a:ea typeface="+mn-ea"/>
                <a:cs typeface="Verdana"/>
              </a:rPr>
              <a:t>filed </a:t>
            </a:r>
            <a:r>
              <a:rPr kumimoji="0" sz="1600" b="0" i="0" u="none" strike="noStrike" kern="1200" cap="none" spc="-60" normalizeH="0" baseline="0" noProof="0" dirty="0">
                <a:ln>
                  <a:noFill/>
                </a:ln>
                <a:solidFill>
                  <a:srgbClr val="FFFFFF"/>
                </a:solidFill>
                <a:effectLst/>
                <a:uLnTx/>
                <a:uFillTx/>
                <a:latin typeface="Verdana"/>
                <a:ea typeface="+mn-ea"/>
                <a:cs typeface="Verdana"/>
              </a:rPr>
              <a:t>in  </a:t>
            </a:r>
            <a:r>
              <a:rPr kumimoji="0" sz="1600" b="0" i="0" u="none" strike="noStrike" kern="1200" cap="none" spc="-105" normalizeH="0" baseline="0" noProof="0" dirty="0">
                <a:ln>
                  <a:noFill/>
                </a:ln>
                <a:solidFill>
                  <a:srgbClr val="FFFFFF"/>
                </a:solidFill>
                <a:effectLst/>
                <a:uLnTx/>
                <a:uFillTx/>
                <a:latin typeface="Verdana"/>
                <a:ea typeface="+mn-ea"/>
                <a:cs typeface="Verdana"/>
              </a:rPr>
              <a:t>2008.</a:t>
            </a:r>
            <a:endParaRPr kumimoji="0" sz="1600" b="0" i="0" u="none" strike="noStrike" kern="1200" cap="none" spc="0" normalizeH="0" baseline="0" noProof="0">
              <a:ln>
                <a:noFill/>
              </a:ln>
              <a:solidFill>
                <a:prstClr val="black"/>
              </a:solidFill>
              <a:effectLst/>
              <a:uLnTx/>
              <a:uFillTx/>
              <a:latin typeface="Verdana"/>
              <a:ea typeface="+mn-ea"/>
              <a:cs typeface="Verdana"/>
            </a:endParaRPr>
          </a:p>
        </p:txBody>
      </p:sp>
      <p:sp>
        <p:nvSpPr>
          <p:cNvPr id="7" name="object 7"/>
          <p:cNvSpPr txBox="1"/>
          <p:nvPr/>
        </p:nvSpPr>
        <p:spPr>
          <a:xfrm>
            <a:off x="546303" y="3850385"/>
            <a:ext cx="2843530" cy="1490345"/>
          </a:xfrm>
          <a:prstGeom prst="rect">
            <a:avLst/>
          </a:prstGeom>
        </p:spPr>
        <p:txBody>
          <a:bodyPr vert="horz" wrap="square" lIns="0" tIns="13335" rIns="0" bIns="0" rtlCol="0">
            <a:spAutoFit/>
          </a:bodyPr>
          <a:lstStyle/>
          <a:p>
            <a:pPr marL="299085" marR="5080" lvl="0" indent="-287020" algn="l" defTabSz="914400" rtl="0" eaLnBrk="1" fontAlgn="auto" latinLnBrk="0" hangingPunct="1">
              <a:lnSpc>
                <a:spcPct val="100000"/>
              </a:lnSpc>
              <a:spcBef>
                <a:spcPts val="105"/>
              </a:spcBef>
              <a:spcAft>
                <a:spcPts val="0"/>
              </a:spcAft>
              <a:buClrTx/>
              <a:buSzTx/>
              <a:buFont typeface="Arial"/>
              <a:buChar char="•"/>
              <a:tabLst>
                <a:tab pos="299085" algn="l"/>
                <a:tab pos="299720" algn="l"/>
              </a:tabLst>
              <a:defRPr/>
            </a:pPr>
            <a:r>
              <a:rPr kumimoji="0" sz="1600" b="0" i="0" u="none" strike="noStrike" kern="1200" cap="none" spc="-105" normalizeH="0" baseline="0" noProof="0" dirty="0">
                <a:ln>
                  <a:noFill/>
                </a:ln>
                <a:solidFill>
                  <a:srgbClr val="FFFFFF"/>
                </a:solidFill>
                <a:effectLst/>
                <a:uLnTx/>
                <a:uFillTx/>
                <a:latin typeface="Verdana"/>
                <a:ea typeface="+mn-ea"/>
                <a:cs typeface="Verdana"/>
              </a:rPr>
              <a:t>Instead</a:t>
            </a:r>
            <a:r>
              <a:rPr kumimoji="0" sz="1600" b="0" i="0" u="none" strike="noStrike" kern="1200" cap="none" spc="-210" normalizeH="0" baseline="0" noProof="0" dirty="0">
                <a:ln>
                  <a:noFill/>
                </a:ln>
                <a:solidFill>
                  <a:srgbClr val="FFFFFF"/>
                </a:solidFill>
                <a:effectLst/>
                <a:uLnTx/>
                <a:uFillTx/>
                <a:latin typeface="Verdana"/>
                <a:ea typeface="+mn-ea"/>
                <a:cs typeface="Verdana"/>
              </a:rPr>
              <a:t> </a:t>
            </a:r>
            <a:r>
              <a:rPr kumimoji="0" sz="1600" b="0" i="0" u="none" strike="noStrike" kern="1200" cap="none" spc="-40" normalizeH="0" baseline="0" noProof="0" dirty="0">
                <a:ln>
                  <a:noFill/>
                </a:ln>
                <a:solidFill>
                  <a:srgbClr val="FFFFFF"/>
                </a:solidFill>
                <a:effectLst/>
                <a:uLnTx/>
                <a:uFillTx/>
                <a:latin typeface="Verdana"/>
                <a:ea typeface="+mn-ea"/>
                <a:cs typeface="Verdana"/>
              </a:rPr>
              <a:t>of</a:t>
            </a:r>
            <a:r>
              <a:rPr kumimoji="0" sz="1600" b="0" i="0" u="none" strike="noStrike" kern="1200" cap="none" spc="-135" normalizeH="0" baseline="0" noProof="0" dirty="0">
                <a:ln>
                  <a:noFill/>
                </a:ln>
                <a:solidFill>
                  <a:srgbClr val="FFFFFF"/>
                </a:solidFill>
                <a:effectLst/>
                <a:uLnTx/>
                <a:uFillTx/>
                <a:latin typeface="Verdana"/>
                <a:ea typeface="+mn-ea"/>
                <a:cs typeface="Verdana"/>
              </a:rPr>
              <a:t> </a:t>
            </a:r>
            <a:r>
              <a:rPr kumimoji="0" sz="1600" b="0" i="0" u="none" strike="noStrike" kern="1200" cap="none" spc="-80" normalizeH="0" baseline="0" noProof="0" dirty="0">
                <a:ln>
                  <a:noFill/>
                </a:ln>
                <a:solidFill>
                  <a:srgbClr val="FFFFFF"/>
                </a:solidFill>
                <a:effectLst/>
                <a:uLnTx/>
                <a:uFillTx/>
                <a:latin typeface="Verdana"/>
                <a:ea typeface="+mn-ea"/>
                <a:cs typeface="Verdana"/>
              </a:rPr>
              <a:t>measuring</a:t>
            </a:r>
            <a:r>
              <a:rPr kumimoji="0" sz="1600" b="0" i="0" u="none" strike="noStrike" kern="1200" cap="none" spc="-245" normalizeH="0" baseline="0" noProof="0" dirty="0">
                <a:ln>
                  <a:noFill/>
                </a:ln>
                <a:solidFill>
                  <a:srgbClr val="FFFFFF"/>
                </a:solidFill>
                <a:effectLst/>
                <a:uLnTx/>
                <a:uFillTx/>
                <a:latin typeface="Verdana"/>
                <a:ea typeface="+mn-ea"/>
                <a:cs typeface="Verdana"/>
              </a:rPr>
              <a:t> </a:t>
            </a:r>
            <a:r>
              <a:rPr kumimoji="0" sz="1600" b="0" i="0" u="none" strike="noStrike" kern="1200" cap="none" spc="-90" normalizeH="0" baseline="0" noProof="0" dirty="0">
                <a:ln>
                  <a:noFill/>
                </a:ln>
                <a:solidFill>
                  <a:srgbClr val="FFFFFF"/>
                </a:solidFill>
                <a:effectLst/>
                <a:uLnTx/>
                <a:uFillTx/>
                <a:latin typeface="Verdana"/>
                <a:ea typeface="+mn-ea"/>
                <a:cs typeface="Verdana"/>
              </a:rPr>
              <a:t>no.</a:t>
            </a:r>
            <a:r>
              <a:rPr kumimoji="0" sz="1600" b="0" i="0" u="none" strike="noStrike" kern="1200" cap="none" spc="-245" normalizeH="0" baseline="0" noProof="0" dirty="0">
                <a:ln>
                  <a:noFill/>
                </a:ln>
                <a:solidFill>
                  <a:srgbClr val="FFFFFF"/>
                </a:solidFill>
                <a:effectLst/>
                <a:uLnTx/>
                <a:uFillTx/>
                <a:latin typeface="Verdana"/>
                <a:ea typeface="+mn-ea"/>
                <a:cs typeface="Verdana"/>
              </a:rPr>
              <a:t> </a:t>
            </a:r>
            <a:r>
              <a:rPr kumimoji="0" sz="1600" b="0" i="0" u="none" strike="noStrike" kern="1200" cap="none" spc="-40" normalizeH="0" baseline="0" noProof="0" dirty="0">
                <a:ln>
                  <a:noFill/>
                </a:ln>
                <a:solidFill>
                  <a:srgbClr val="FFFFFF"/>
                </a:solidFill>
                <a:effectLst/>
                <a:uLnTx/>
                <a:uFillTx/>
                <a:latin typeface="Verdana"/>
                <a:ea typeface="+mn-ea"/>
                <a:cs typeface="Verdana"/>
              </a:rPr>
              <a:t>of  </a:t>
            </a:r>
            <a:r>
              <a:rPr kumimoji="0" sz="1600" b="0" i="0" u="none" strike="noStrike" kern="1200" cap="none" spc="-85" normalizeH="0" baseline="0" noProof="0" dirty="0">
                <a:ln>
                  <a:noFill/>
                </a:ln>
                <a:solidFill>
                  <a:srgbClr val="FFFFFF"/>
                </a:solidFill>
                <a:effectLst/>
                <a:uLnTx/>
                <a:uFillTx/>
                <a:latin typeface="Verdana"/>
                <a:ea typeface="+mn-ea"/>
                <a:cs typeface="Verdana"/>
              </a:rPr>
              <a:t>patents </a:t>
            </a:r>
            <a:r>
              <a:rPr kumimoji="0" sz="1600" b="0" i="0" u="none" strike="noStrike" kern="1200" cap="none" spc="-70" normalizeH="0" baseline="0" noProof="0" dirty="0">
                <a:ln>
                  <a:noFill/>
                </a:ln>
                <a:solidFill>
                  <a:srgbClr val="FFFFFF"/>
                </a:solidFill>
                <a:effectLst/>
                <a:uLnTx/>
                <a:uFillTx/>
                <a:latin typeface="Verdana"/>
                <a:ea typeface="+mn-ea"/>
                <a:cs typeface="Verdana"/>
              </a:rPr>
              <a:t>filed/awarded, </a:t>
            </a:r>
            <a:r>
              <a:rPr kumimoji="0" sz="1600" b="0" i="0" u="none" strike="noStrike" kern="1200" cap="none" spc="-80" normalizeH="0" baseline="0" noProof="0" dirty="0">
                <a:ln>
                  <a:noFill/>
                </a:ln>
                <a:solidFill>
                  <a:srgbClr val="FFFFFF"/>
                </a:solidFill>
                <a:effectLst/>
                <a:uLnTx/>
                <a:uFillTx/>
                <a:latin typeface="Verdana"/>
                <a:ea typeface="+mn-ea"/>
                <a:cs typeface="Verdana"/>
              </a:rPr>
              <a:t>we  </a:t>
            </a:r>
            <a:r>
              <a:rPr kumimoji="0" sz="1600" b="0" i="0" u="none" strike="noStrike" kern="1200" cap="none" spc="-45" normalizeH="0" baseline="0" noProof="0" dirty="0">
                <a:ln>
                  <a:noFill/>
                </a:ln>
                <a:solidFill>
                  <a:srgbClr val="FFFFFF"/>
                </a:solidFill>
                <a:effectLst/>
                <a:uLnTx/>
                <a:uFillTx/>
                <a:latin typeface="Verdana"/>
                <a:ea typeface="+mn-ea"/>
                <a:cs typeface="Verdana"/>
              </a:rPr>
              <a:t>should</a:t>
            </a:r>
            <a:r>
              <a:rPr kumimoji="0" sz="1600" b="0" i="0" u="none" strike="noStrike" kern="1200" cap="none" spc="-215" normalizeH="0" baseline="0" noProof="0" dirty="0">
                <a:ln>
                  <a:noFill/>
                </a:ln>
                <a:solidFill>
                  <a:srgbClr val="FFFFFF"/>
                </a:solidFill>
                <a:effectLst/>
                <a:uLnTx/>
                <a:uFillTx/>
                <a:latin typeface="Verdana"/>
                <a:ea typeface="+mn-ea"/>
                <a:cs typeface="Verdana"/>
              </a:rPr>
              <a:t> </a:t>
            </a:r>
            <a:r>
              <a:rPr kumimoji="0" sz="1600" b="0" i="0" u="none" strike="noStrike" kern="1200" cap="none" spc="-5" normalizeH="0" baseline="0" noProof="0" dirty="0">
                <a:ln>
                  <a:noFill/>
                </a:ln>
                <a:solidFill>
                  <a:srgbClr val="FFFFFF"/>
                </a:solidFill>
                <a:effectLst/>
                <a:uLnTx/>
                <a:uFillTx/>
                <a:latin typeface="Verdana"/>
                <a:ea typeface="+mn-ea"/>
                <a:cs typeface="Verdana"/>
              </a:rPr>
              <a:t>be</a:t>
            </a:r>
            <a:r>
              <a:rPr kumimoji="0" sz="1600" b="0" i="0" u="none" strike="noStrike" kern="1200" cap="none" spc="-200" normalizeH="0" baseline="0" noProof="0" dirty="0">
                <a:ln>
                  <a:noFill/>
                </a:ln>
                <a:solidFill>
                  <a:srgbClr val="FFFFFF"/>
                </a:solidFill>
                <a:effectLst/>
                <a:uLnTx/>
                <a:uFillTx/>
                <a:latin typeface="Verdana"/>
                <a:ea typeface="+mn-ea"/>
                <a:cs typeface="Verdana"/>
              </a:rPr>
              <a:t> </a:t>
            </a:r>
            <a:r>
              <a:rPr kumimoji="0" sz="1600" b="0" i="0" u="none" strike="noStrike" kern="1200" cap="none" spc="-80" normalizeH="0" baseline="0" noProof="0" dirty="0">
                <a:ln>
                  <a:noFill/>
                </a:ln>
                <a:solidFill>
                  <a:srgbClr val="FFFFFF"/>
                </a:solidFill>
                <a:effectLst/>
                <a:uLnTx/>
                <a:uFillTx/>
                <a:latin typeface="Verdana"/>
                <a:ea typeface="+mn-ea"/>
                <a:cs typeface="Verdana"/>
              </a:rPr>
              <a:t>measuring</a:t>
            </a:r>
            <a:r>
              <a:rPr kumimoji="0" sz="1600" b="0" i="0" u="none" strike="noStrike" kern="1200" cap="none" spc="-220" normalizeH="0" baseline="0" noProof="0" dirty="0">
                <a:ln>
                  <a:noFill/>
                </a:ln>
                <a:solidFill>
                  <a:srgbClr val="FFFFFF"/>
                </a:solidFill>
                <a:effectLst/>
                <a:uLnTx/>
                <a:uFillTx/>
                <a:latin typeface="Verdana"/>
                <a:ea typeface="+mn-ea"/>
                <a:cs typeface="Verdana"/>
              </a:rPr>
              <a:t> </a:t>
            </a:r>
            <a:r>
              <a:rPr kumimoji="0" sz="1600" b="0" i="0" u="none" strike="noStrike" kern="1200" cap="none" spc="-90" normalizeH="0" baseline="0" noProof="0" dirty="0">
                <a:ln>
                  <a:noFill/>
                </a:ln>
                <a:solidFill>
                  <a:srgbClr val="FFFFFF"/>
                </a:solidFill>
                <a:effectLst/>
                <a:uLnTx/>
                <a:uFillTx/>
                <a:latin typeface="Verdana"/>
                <a:ea typeface="+mn-ea"/>
                <a:cs typeface="Verdana"/>
              </a:rPr>
              <a:t>no.</a:t>
            </a:r>
            <a:r>
              <a:rPr kumimoji="0" sz="1600" b="0" i="0" u="none" strike="noStrike" kern="1200" cap="none" spc="-250" normalizeH="0" baseline="0" noProof="0" dirty="0">
                <a:ln>
                  <a:noFill/>
                </a:ln>
                <a:solidFill>
                  <a:srgbClr val="FFFFFF"/>
                </a:solidFill>
                <a:effectLst/>
                <a:uLnTx/>
                <a:uFillTx/>
                <a:latin typeface="Verdana"/>
                <a:ea typeface="+mn-ea"/>
                <a:cs typeface="Verdana"/>
              </a:rPr>
              <a:t> </a:t>
            </a:r>
            <a:r>
              <a:rPr kumimoji="0" sz="1600" b="0" i="0" u="none" strike="noStrike" kern="1200" cap="none" spc="-40" normalizeH="0" baseline="0" noProof="0" dirty="0">
                <a:ln>
                  <a:noFill/>
                </a:ln>
                <a:solidFill>
                  <a:srgbClr val="FFFFFF"/>
                </a:solidFill>
                <a:effectLst/>
                <a:uLnTx/>
                <a:uFillTx/>
                <a:latin typeface="Verdana"/>
                <a:ea typeface="+mn-ea"/>
                <a:cs typeface="Verdana"/>
              </a:rPr>
              <a:t>of  </a:t>
            </a:r>
            <a:r>
              <a:rPr kumimoji="0" sz="1600" b="0" i="0" u="none" strike="noStrike" kern="1200" cap="none" spc="-85" normalizeH="0" baseline="0" noProof="0" dirty="0">
                <a:ln>
                  <a:noFill/>
                </a:ln>
                <a:solidFill>
                  <a:srgbClr val="FFFFFF"/>
                </a:solidFill>
                <a:effectLst/>
                <a:uLnTx/>
                <a:uFillTx/>
                <a:latin typeface="Verdana"/>
                <a:ea typeface="+mn-ea"/>
                <a:cs typeface="Verdana"/>
              </a:rPr>
              <a:t>patents </a:t>
            </a:r>
            <a:r>
              <a:rPr kumimoji="0" sz="1600" b="0" i="0" u="none" strike="noStrike" kern="1200" cap="none" spc="-80" normalizeH="0" baseline="0" noProof="0" dirty="0">
                <a:ln>
                  <a:noFill/>
                </a:ln>
                <a:solidFill>
                  <a:srgbClr val="FFFFFF"/>
                </a:solidFill>
                <a:effectLst/>
                <a:uLnTx/>
                <a:uFillTx/>
                <a:latin typeface="Verdana"/>
                <a:ea typeface="+mn-ea"/>
                <a:cs typeface="Verdana"/>
              </a:rPr>
              <a:t>successfully  </a:t>
            </a:r>
            <a:r>
              <a:rPr kumimoji="0" sz="1600" b="0" i="0" u="none" strike="noStrike" kern="1200" cap="none" spc="-70" normalizeH="0" baseline="0" noProof="0" dirty="0">
                <a:ln>
                  <a:noFill/>
                </a:ln>
                <a:solidFill>
                  <a:srgbClr val="FFFFFF"/>
                </a:solidFill>
                <a:effectLst/>
                <a:uLnTx/>
                <a:uFillTx/>
                <a:latin typeface="Verdana"/>
                <a:ea typeface="+mn-ea"/>
                <a:cs typeface="Verdana"/>
              </a:rPr>
              <a:t>commercialised/impact </a:t>
            </a:r>
            <a:r>
              <a:rPr kumimoji="0" sz="1600" b="0" i="0" u="none" strike="noStrike" kern="1200" cap="none" spc="-60" normalizeH="0" baseline="0" noProof="0" dirty="0">
                <a:ln>
                  <a:noFill/>
                </a:ln>
                <a:solidFill>
                  <a:srgbClr val="FFFFFF"/>
                </a:solidFill>
                <a:effectLst/>
                <a:uLnTx/>
                <a:uFillTx/>
                <a:latin typeface="Verdana"/>
                <a:ea typeface="+mn-ea"/>
                <a:cs typeface="Verdana"/>
              </a:rPr>
              <a:t>to  </a:t>
            </a:r>
            <a:r>
              <a:rPr kumimoji="0" sz="1600" b="0" i="0" u="none" strike="noStrike" kern="1200" cap="none" spc="-85" normalizeH="0" baseline="0" noProof="0" dirty="0">
                <a:ln>
                  <a:noFill/>
                </a:ln>
                <a:solidFill>
                  <a:srgbClr val="FFFFFF"/>
                </a:solidFill>
                <a:effectLst/>
                <a:uLnTx/>
                <a:uFillTx/>
                <a:latin typeface="Verdana"/>
                <a:ea typeface="+mn-ea"/>
                <a:cs typeface="Verdana"/>
              </a:rPr>
              <a:t>industry/society</a:t>
            </a:r>
            <a:endParaRPr kumimoji="0" sz="1600" b="0" i="0" u="none" strike="noStrike" kern="1200" cap="none" spc="0" normalizeH="0" baseline="0" noProof="0">
              <a:ln>
                <a:noFill/>
              </a:ln>
              <a:solidFill>
                <a:prstClr val="black"/>
              </a:solidFill>
              <a:effectLst/>
              <a:uLnTx/>
              <a:uFillTx/>
              <a:latin typeface="Verdana"/>
              <a:ea typeface="+mn-ea"/>
              <a:cs typeface="Verdana"/>
            </a:endParaRPr>
          </a:p>
        </p:txBody>
      </p:sp>
      <p:sp>
        <p:nvSpPr>
          <p:cNvPr id="8" name="object 8"/>
          <p:cNvSpPr/>
          <p:nvPr/>
        </p:nvSpPr>
        <p:spPr>
          <a:xfrm>
            <a:off x="7915656" y="1612391"/>
            <a:ext cx="3913632" cy="4187952"/>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p:nvPr/>
        </p:nvSpPr>
        <p:spPr>
          <a:xfrm>
            <a:off x="4017264" y="1612391"/>
            <a:ext cx="3773424" cy="4187952"/>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0" name="object 10"/>
          <p:cNvSpPr txBox="1"/>
          <p:nvPr/>
        </p:nvSpPr>
        <p:spPr>
          <a:xfrm>
            <a:off x="4017264" y="1612391"/>
            <a:ext cx="664845" cy="307975"/>
          </a:xfrm>
          <a:prstGeom prst="rect">
            <a:avLst/>
          </a:prstGeom>
          <a:solidFill>
            <a:srgbClr val="FFFFFF"/>
          </a:solidFill>
        </p:spPr>
        <p:txBody>
          <a:bodyPr vert="horz" wrap="square" lIns="0" tIns="40005" rIns="0" bIns="0" rtlCol="0">
            <a:spAutoFit/>
          </a:bodyPr>
          <a:lstStyle/>
          <a:p>
            <a:pPr marL="91440" marR="0" lvl="0" indent="0" algn="l" defTabSz="914400" rtl="0" eaLnBrk="1" fontAlgn="auto" latinLnBrk="0" hangingPunct="1">
              <a:lnSpc>
                <a:spcPct val="100000"/>
              </a:lnSpc>
              <a:spcBef>
                <a:spcPts val="315"/>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Verdana"/>
                <a:ea typeface="+mn-ea"/>
                <a:cs typeface="Verdana"/>
              </a:rPr>
              <a:t>Fig</a:t>
            </a:r>
            <a:r>
              <a:rPr kumimoji="0" sz="1400" b="0" i="0" u="none" strike="noStrike" kern="1200" cap="none" spc="-175" normalizeH="0" baseline="0" noProof="0" dirty="0">
                <a:ln>
                  <a:noFill/>
                </a:ln>
                <a:solidFill>
                  <a:prstClr val="black"/>
                </a:solidFill>
                <a:effectLst/>
                <a:uLnTx/>
                <a:uFillTx/>
                <a:latin typeface="Verdana"/>
                <a:ea typeface="+mn-ea"/>
                <a:cs typeface="Verdana"/>
              </a:rPr>
              <a:t> </a:t>
            </a:r>
            <a:r>
              <a:rPr kumimoji="0" sz="1400" b="0" i="0" u="none" strike="noStrike" kern="1200" cap="none" spc="-85" normalizeH="0" baseline="0" noProof="0" dirty="0">
                <a:ln>
                  <a:noFill/>
                </a:ln>
                <a:solidFill>
                  <a:prstClr val="black"/>
                </a:solidFill>
                <a:effectLst/>
                <a:uLnTx/>
                <a:uFillTx/>
                <a:latin typeface="Verdana"/>
                <a:ea typeface="+mn-ea"/>
                <a:cs typeface="Verdana"/>
              </a:rPr>
              <a:t>1</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11" name="object 11"/>
          <p:cNvSpPr txBox="1"/>
          <p:nvPr/>
        </p:nvSpPr>
        <p:spPr>
          <a:xfrm>
            <a:off x="7915656" y="1612391"/>
            <a:ext cx="676910" cy="307975"/>
          </a:xfrm>
          <a:prstGeom prst="rect">
            <a:avLst/>
          </a:prstGeom>
          <a:solidFill>
            <a:srgbClr val="FFFFFF"/>
          </a:solidFill>
        </p:spPr>
        <p:txBody>
          <a:bodyPr vert="horz" wrap="square" lIns="0" tIns="40005" rIns="0" bIns="0" rtlCol="0">
            <a:spAutoFit/>
          </a:bodyPr>
          <a:lstStyle/>
          <a:p>
            <a:pPr marL="92710" marR="0" lvl="0" indent="0" algn="l" defTabSz="914400" rtl="0" eaLnBrk="1" fontAlgn="auto" latinLnBrk="0" hangingPunct="1">
              <a:lnSpc>
                <a:spcPct val="100000"/>
              </a:lnSpc>
              <a:spcBef>
                <a:spcPts val="315"/>
              </a:spcBef>
              <a:spcAft>
                <a:spcPts val="0"/>
              </a:spcAft>
              <a:buClrTx/>
              <a:buSzTx/>
              <a:buFontTx/>
              <a:buNone/>
              <a:tabLst/>
              <a:defRPr/>
            </a:pPr>
            <a:r>
              <a:rPr kumimoji="0" sz="1400" b="0" i="0" u="none" strike="noStrike" kern="1200" cap="none" spc="-25" normalizeH="0" baseline="0" noProof="0" dirty="0">
                <a:ln>
                  <a:noFill/>
                </a:ln>
                <a:solidFill>
                  <a:prstClr val="black"/>
                </a:solidFill>
                <a:effectLst/>
                <a:uLnTx/>
                <a:uFillTx/>
                <a:latin typeface="Verdana"/>
                <a:ea typeface="+mn-ea"/>
                <a:cs typeface="Verdana"/>
              </a:rPr>
              <a:t>Fig</a:t>
            </a:r>
            <a:r>
              <a:rPr kumimoji="0" sz="1400" b="0" i="0" u="none" strike="noStrike" kern="1200" cap="none" spc="-175" normalizeH="0" baseline="0" noProof="0" dirty="0">
                <a:ln>
                  <a:noFill/>
                </a:ln>
                <a:solidFill>
                  <a:prstClr val="black"/>
                </a:solidFill>
                <a:effectLst/>
                <a:uLnTx/>
                <a:uFillTx/>
                <a:latin typeface="Verdana"/>
                <a:ea typeface="+mn-ea"/>
                <a:cs typeface="Verdana"/>
              </a:rPr>
              <a:t> </a:t>
            </a:r>
            <a:r>
              <a:rPr kumimoji="0" sz="1400" b="0" i="0" u="none" strike="noStrike" kern="1200" cap="none" spc="-85" normalizeH="0" baseline="0" noProof="0" dirty="0">
                <a:ln>
                  <a:noFill/>
                </a:ln>
                <a:solidFill>
                  <a:prstClr val="black"/>
                </a:solidFill>
                <a:effectLst/>
                <a:uLnTx/>
                <a:uFillTx/>
                <a:latin typeface="Verdana"/>
                <a:ea typeface="+mn-ea"/>
                <a:cs typeface="Verdana"/>
              </a:rPr>
              <a:t>2</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970" rIns="0" bIns="0" rtlCol="0">
            <a:spAutoFit/>
          </a:bodyPr>
          <a:lstStyle/>
          <a:p>
            <a:pPr marL="67945">
              <a:lnSpc>
                <a:spcPct val="100000"/>
              </a:lnSpc>
              <a:spcBef>
                <a:spcPts val="110"/>
              </a:spcBef>
            </a:pPr>
            <a:r>
              <a:rPr spc="280" dirty="0"/>
              <a:t>Singapore </a:t>
            </a:r>
            <a:r>
              <a:rPr spc="20" dirty="0"/>
              <a:t>– </a:t>
            </a:r>
            <a:r>
              <a:rPr spc="75" dirty="0"/>
              <a:t>A </a:t>
            </a:r>
            <a:r>
              <a:rPr spc="310" dirty="0"/>
              <a:t>Vibrant </a:t>
            </a:r>
            <a:r>
              <a:rPr spc="265" dirty="0"/>
              <a:t>Innovation/ </a:t>
            </a:r>
            <a:r>
              <a:rPr spc="295" dirty="0"/>
              <a:t>Startup</a:t>
            </a:r>
            <a:r>
              <a:rPr spc="-520" dirty="0"/>
              <a:t> </a:t>
            </a:r>
            <a:r>
              <a:rPr spc="305" dirty="0"/>
              <a:t>Ecosystem</a:t>
            </a:r>
          </a:p>
        </p:txBody>
      </p:sp>
      <p:sp>
        <p:nvSpPr>
          <p:cNvPr id="3" name="object 3"/>
          <p:cNvSpPr/>
          <p:nvPr/>
        </p:nvSpPr>
        <p:spPr>
          <a:xfrm>
            <a:off x="557783" y="835152"/>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2409825" y="6504838"/>
            <a:ext cx="1327150" cy="208279"/>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202184" y="6511849"/>
            <a:ext cx="1521460" cy="23812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s:</a:t>
            </a:r>
            <a:r>
              <a:rPr kumimoji="0" sz="1400" b="0" i="0" u="none" strike="noStrike" kern="1200" cap="none" spc="-204" normalizeH="0" baseline="0" noProof="0" dirty="0">
                <a:ln>
                  <a:noFill/>
                </a:ln>
                <a:solidFill>
                  <a:srgbClr val="FFFFFF"/>
                </a:solidFill>
                <a:effectLst/>
                <a:uLnTx/>
                <a:uFillTx/>
                <a:latin typeface="Verdana"/>
                <a:ea typeface="+mn-ea"/>
                <a:cs typeface="Verdana"/>
              </a:rPr>
              <a:t> </a:t>
            </a:r>
            <a:r>
              <a:rPr kumimoji="0" sz="1400" b="0" i="0" u="none" strike="noStrike" kern="1200" cap="none" spc="-60" normalizeH="0" baseline="0" noProof="0" dirty="0">
                <a:ln>
                  <a:noFill/>
                </a:ln>
                <a:solidFill>
                  <a:srgbClr val="FFFFFF"/>
                </a:solidFill>
                <a:effectLst/>
                <a:uLnTx/>
                <a:uFillTx/>
                <a:latin typeface="Verdana"/>
                <a:ea typeface="+mn-ea"/>
                <a:cs typeface="Verdana"/>
              </a:rPr>
              <a:t>ACE/ESG</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p:nvPr/>
        </p:nvSpPr>
        <p:spPr>
          <a:xfrm>
            <a:off x="4099559" y="1027174"/>
            <a:ext cx="7924800" cy="5763766"/>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txBox="1"/>
          <p:nvPr/>
        </p:nvSpPr>
        <p:spPr>
          <a:xfrm>
            <a:off x="539292" y="1133982"/>
            <a:ext cx="3329940" cy="4664710"/>
          </a:xfrm>
          <a:prstGeom prst="rect">
            <a:avLst/>
          </a:prstGeom>
        </p:spPr>
        <p:txBody>
          <a:bodyPr vert="horz" wrap="square" lIns="0" tIns="13335" rIns="0" bIns="0" rtlCol="0">
            <a:spAutoFit/>
          </a:bodyPr>
          <a:lstStyle/>
          <a:p>
            <a:pPr marL="299085" marR="81915" lvl="0" indent="-287020" algn="l" defTabSz="914400" rtl="0" eaLnBrk="1" fontAlgn="auto" latinLnBrk="0" hangingPunct="1">
              <a:lnSpc>
                <a:spcPct val="100000"/>
              </a:lnSpc>
              <a:spcBef>
                <a:spcPts val="105"/>
              </a:spcBef>
              <a:spcAft>
                <a:spcPts val="0"/>
              </a:spcAft>
              <a:buClrTx/>
              <a:buSzTx/>
              <a:buFont typeface="Arial"/>
              <a:buChar char="•"/>
              <a:tabLst>
                <a:tab pos="299085" algn="l"/>
                <a:tab pos="299720" algn="l"/>
              </a:tabLst>
              <a:defRPr/>
            </a:pPr>
            <a:r>
              <a:rPr kumimoji="0" sz="1600" b="0" i="0" u="none" strike="noStrike" kern="1200" cap="none" spc="-10" normalizeH="0" baseline="0" noProof="0" dirty="0">
                <a:ln>
                  <a:noFill/>
                </a:ln>
                <a:solidFill>
                  <a:srgbClr val="FFFFFF"/>
                </a:solidFill>
                <a:effectLst/>
                <a:uLnTx/>
                <a:uFillTx/>
                <a:latin typeface="Carlito"/>
                <a:ea typeface="+mn-ea"/>
                <a:cs typeface="Carlito"/>
                <a:hlinkClick r:id="rId3"/>
              </a:rPr>
              <a:t>Singapore </a:t>
            </a:r>
            <a:r>
              <a:rPr kumimoji="0" sz="1600" b="0" i="0" u="none" strike="noStrike" kern="1200" cap="none" spc="-5" normalizeH="0" baseline="0" noProof="0" dirty="0">
                <a:ln>
                  <a:noFill/>
                </a:ln>
                <a:solidFill>
                  <a:srgbClr val="FFFFFF"/>
                </a:solidFill>
                <a:effectLst/>
                <a:uLnTx/>
                <a:uFillTx/>
                <a:latin typeface="Carlito"/>
                <a:ea typeface="+mn-ea"/>
                <a:cs typeface="Carlito"/>
                <a:hlinkClick r:id="rId3"/>
              </a:rPr>
              <a:t>was </a:t>
            </a:r>
            <a:r>
              <a:rPr kumimoji="0" sz="1600" b="0" i="0" u="none" strike="noStrike" kern="1200" cap="none" spc="-20" normalizeH="0" baseline="0" noProof="0" dirty="0">
                <a:ln>
                  <a:noFill/>
                </a:ln>
                <a:solidFill>
                  <a:srgbClr val="FFFFFF"/>
                </a:solidFill>
                <a:effectLst/>
                <a:uLnTx/>
                <a:uFillTx/>
                <a:latin typeface="Carlito"/>
                <a:ea typeface="+mn-ea"/>
                <a:cs typeface="Carlito"/>
                <a:hlinkClick r:id="rId3"/>
              </a:rPr>
              <a:t>voted </a:t>
            </a:r>
            <a:r>
              <a:rPr kumimoji="0" sz="1600" b="0" i="0" u="none" strike="noStrike" kern="1200" cap="none" spc="0" normalizeH="0" baseline="0" noProof="0" dirty="0">
                <a:ln>
                  <a:noFill/>
                </a:ln>
                <a:solidFill>
                  <a:srgbClr val="FFFFFF"/>
                </a:solidFill>
                <a:effectLst/>
                <a:uLnTx/>
                <a:uFillTx/>
                <a:latin typeface="Carlito"/>
                <a:ea typeface="+mn-ea"/>
                <a:cs typeface="Carlito"/>
                <a:hlinkClick r:id="rId3"/>
              </a:rPr>
              <a:t>as </a:t>
            </a:r>
            <a:r>
              <a:rPr kumimoji="0" sz="1600" b="0" i="0" u="none" strike="noStrike" kern="1200" cap="none" spc="-5" normalizeH="0" baseline="0" noProof="0" dirty="0">
                <a:ln>
                  <a:noFill/>
                </a:ln>
                <a:solidFill>
                  <a:srgbClr val="FFFFFF"/>
                </a:solidFill>
                <a:effectLst/>
                <a:uLnTx/>
                <a:uFillTx/>
                <a:latin typeface="Carlito"/>
                <a:ea typeface="+mn-ea"/>
                <a:cs typeface="Carlito"/>
                <a:hlinkClick r:id="rId3"/>
              </a:rPr>
              <a:t>the</a:t>
            </a:r>
            <a:r>
              <a:rPr kumimoji="0" sz="1600" b="0" i="0" u="none" strike="noStrike" kern="1200" cap="none" spc="-5" normalizeH="0" baseline="0" noProof="0" dirty="0">
                <a:ln>
                  <a:noFill/>
                </a:ln>
                <a:solidFill>
                  <a:srgbClr val="3D8FF0"/>
                </a:solidFill>
                <a:effectLst/>
                <a:uLnTx/>
                <a:uFillTx/>
                <a:latin typeface="Carlito"/>
                <a:ea typeface="+mn-ea"/>
                <a:cs typeface="Carlito"/>
                <a:hlinkClick r:id="rId3"/>
              </a:rPr>
              <a:t> </a:t>
            </a:r>
            <a:r>
              <a:rPr kumimoji="0" sz="1600" b="0" i="0" u="sng" strike="noStrike" kern="1200" cap="none" spc="-10" normalizeH="0" baseline="0" noProof="0" dirty="0">
                <a:ln>
                  <a:noFill/>
                </a:ln>
                <a:solidFill>
                  <a:srgbClr val="3D8FF0"/>
                </a:solidFill>
                <a:effectLst/>
                <a:uLnTx/>
                <a:uFill>
                  <a:solidFill>
                    <a:srgbClr val="3D8FF0"/>
                  </a:solidFill>
                </a:uFill>
                <a:latin typeface="Carlito"/>
                <a:ea typeface="+mn-ea"/>
                <a:cs typeface="Carlito"/>
                <a:hlinkClick r:id="rId3"/>
              </a:rPr>
              <a:t>second-  easiest </a:t>
            </a:r>
            <a:r>
              <a:rPr kumimoji="0" sz="1600" b="0" i="0" u="sng" strike="noStrike" kern="1200" cap="none" spc="-5" normalizeH="0" baseline="0" noProof="0" dirty="0">
                <a:ln>
                  <a:noFill/>
                </a:ln>
                <a:solidFill>
                  <a:srgbClr val="3D8FF0"/>
                </a:solidFill>
                <a:effectLst/>
                <a:uLnTx/>
                <a:uFill>
                  <a:solidFill>
                    <a:srgbClr val="3D8FF0"/>
                  </a:solidFill>
                </a:uFill>
                <a:latin typeface="Carlito"/>
                <a:ea typeface="+mn-ea"/>
                <a:cs typeface="Carlito"/>
                <a:hlinkClick r:id="rId3"/>
              </a:rPr>
              <a:t>place </a:t>
            </a:r>
            <a:r>
              <a:rPr kumimoji="0" sz="1600" b="0" i="0" u="sng" strike="noStrike" kern="1200" cap="none" spc="-20" normalizeH="0" baseline="0" noProof="0" dirty="0">
                <a:ln>
                  <a:noFill/>
                </a:ln>
                <a:solidFill>
                  <a:srgbClr val="3D8FF0"/>
                </a:solidFill>
                <a:effectLst/>
                <a:uLnTx/>
                <a:uFill>
                  <a:solidFill>
                    <a:srgbClr val="3D8FF0"/>
                  </a:solidFill>
                </a:uFill>
                <a:latin typeface="Carlito"/>
                <a:ea typeface="+mn-ea"/>
                <a:cs typeface="Carlito"/>
                <a:hlinkClick r:id="rId3"/>
              </a:rPr>
              <a:t>to </a:t>
            </a:r>
            <a:r>
              <a:rPr kumimoji="0" sz="1600" b="0" i="0" u="sng" strike="noStrike" kern="1200" cap="none" spc="0" normalizeH="0" baseline="0" noProof="0" dirty="0">
                <a:ln>
                  <a:noFill/>
                </a:ln>
                <a:solidFill>
                  <a:srgbClr val="3D8FF0"/>
                </a:solidFill>
                <a:effectLst/>
                <a:uLnTx/>
                <a:uFill>
                  <a:solidFill>
                    <a:srgbClr val="3D8FF0"/>
                  </a:solidFill>
                </a:uFill>
                <a:latin typeface="Carlito"/>
                <a:ea typeface="+mn-ea"/>
                <a:cs typeface="Carlito"/>
                <a:hlinkClick r:id="rId3"/>
              </a:rPr>
              <a:t>do </a:t>
            </a:r>
            <a:r>
              <a:rPr kumimoji="0" sz="1600" b="0" i="0" u="sng" strike="noStrike" kern="1200" cap="none" spc="-5" normalizeH="0" baseline="0" noProof="0" dirty="0">
                <a:ln>
                  <a:noFill/>
                </a:ln>
                <a:solidFill>
                  <a:srgbClr val="3D8FF0"/>
                </a:solidFill>
                <a:effectLst/>
                <a:uLnTx/>
                <a:uFill>
                  <a:solidFill>
                    <a:srgbClr val="3D8FF0"/>
                  </a:solidFill>
                </a:uFill>
                <a:latin typeface="Carlito"/>
                <a:ea typeface="+mn-ea"/>
                <a:cs typeface="Carlito"/>
                <a:hlinkClick r:id="rId3"/>
              </a:rPr>
              <a:t>business</a:t>
            </a:r>
            <a:r>
              <a:rPr kumimoji="0" sz="1600" b="0" i="0" u="none" strike="noStrike" kern="1200" cap="none" spc="-5" normalizeH="0" baseline="0" noProof="0" dirty="0">
                <a:ln>
                  <a:noFill/>
                </a:ln>
                <a:solidFill>
                  <a:srgbClr val="3D8FF0"/>
                </a:solidFill>
                <a:effectLst/>
                <a:uLnTx/>
                <a:uFillTx/>
                <a:latin typeface="Carlito"/>
                <a:ea typeface="+mn-ea"/>
                <a:cs typeface="Carlito"/>
                <a:hlinkClick r:id="rId3"/>
              </a:rPr>
              <a:t> </a:t>
            </a:r>
            <a:r>
              <a:rPr kumimoji="0" sz="1600" b="0" i="0" u="none" strike="noStrike" kern="1200" cap="none" spc="-5" normalizeH="0" baseline="0" noProof="0" dirty="0">
                <a:ln>
                  <a:noFill/>
                </a:ln>
                <a:solidFill>
                  <a:srgbClr val="FFFFFF"/>
                </a:solidFill>
                <a:effectLst/>
                <a:uLnTx/>
                <a:uFillTx/>
                <a:latin typeface="Carlito"/>
                <a:ea typeface="+mn-ea"/>
                <a:cs typeface="Carlito"/>
                <a:hlinkClick r:id="rId3"/>
              </a:rPr>
              <a:t>in the </a:t>
            </a:r>
            <a:r>
              <a:rPr kumimoji="0" sz="1600" b="0" i="0" u="none" strike="noStrike" kern="1200" cap="none" spc="-5" normalizeH="0" baseline="0" noProof="0" dirty="0">
                <a:ln>
                  <a:noFill/>
                </a:ln>
                <a:solidFill>
                  <a:srgbClr val="FFFFFF"/>
                </a:solidFill>
                <a:effectLst/>
                <a:uLnTx/>
                <a:uFillTx/>
                <a:latin typeface="Carlito"/>
                <a:ea typeface="+mn-ea"/>
                <a:cs typeface="Carlito"/>
              </a:rPr>
              <a:t> </a:t>
            </a:r>
            <a:r>
              <a:rPr kumimoji="0" sz="1600" b="0" i="0" u="none" strike="noStrike" kern="1200" cap="none" spc="-10" normalizeH="0" baseline="0" noProof="0" dirty="0">
                <a:ln>
                  <a:noFill/>
                </a:ln>
                <a:solidFill>
                  <a:srgbClr val="FFFFFF"/>
                </a:solidFill>
                <a:effectLst/>
                <a:uLnTx/>
                <a:uFillTx/>
                <a:latin typeface="Carlito"/>
                <a:ea typeface="+mn-ea"/>
                <a:cs typeface="Carlito"/>
              </a:rPr>
              <a:t>world </a:t>
            </a:r>
            <a:r>
              <a:rPr kumimoji="0" sz="1600" b="0" i="0" u="none" strike="noStrike" kern="1200" cap="none" spc="0" normalizeH="0" baseline="0" noProof="0" dirty="0">
                <a:ln>
                  <a:noFill/>
                </a:ln>
                <a:solidFill>
                  <a:srgbClr val="FFFFFF"/>
                </a:solidFill>
                <a:effectLst/>
                <a:uLnTx/>
                <a:uFillTx/>
                <a:latin typeface="Carlito"/>
                <a:ea typeface="+mn-ea"/>
                <a:cs typeface="Carlito"/>
              </a:rPr>
              <a:t>by </a:t>
            </a:r>
            <a:r>
              <a:rPr kumimoji="0" sz="1600" b="0" i="0" u="none" strike="noStrike" kern="1200" cap="none" spc="-10" normalizeH="0" baseline="0" noProof="0" dirty="0">
                <a:ln>
                  <a:noFill/>
                </a:ln>
                <a:solidFill>
                  <a:srgbClr val="FFFFFF"/>
                </a:solidFill>
                <a:effectLst/>
                <a:uLnTx/>
                <a:uFillTx/>
                <a:latin typeface="Carlito"/>
                <a:ea typeface="+mn-ea"/>
                <a:cs typeface="Carlito"/>
              </a:rPr>
              <a:t>the </a:t>
            </a:r>
            <a:r>
              <a:rPr kumimoji="0" sz="1600" b="0" i="0" u="none" strike="noStrike" kern="1200" cap="none" spc="-15" normalizeH="0" baseline="0" noProof="0" dirty="0">
                <a:ln>
                  <a:noFill/>
                </a:ln>
                <a:solidFill>
                  <a:srgbClr val="FFFFFF"/>
                </a:solidFill>
                <a:effectLst/>
                <a:uLnTx/>
                <a:uFillTx/>
                <a:latin typeface="Carlito"/>
                <a:ea typeface="+mn-ea"/>
                <a:cs typeface="Carlito"/>
              </a:rPr>
              <a:t>World </a:t>
            </a:r>
            <a:r>
              <a:rPr kumimoji="0" sz="1600" b="0" i="0" u="none" strike="noStrike" kern="1200" cap="none" spc="-5" normalizeH="0" baseline="0" noProof="0" dirty="0">
                <a:ln>
                  <a:noFill/>
                </a:ln>
                <a:solidFill>
                  <a:srgbClr val="FFFFFF"/>
                </a:solidFill>
                <a:effectLst/>
                <a:uLnTx/>
                <a:uFillTx/>
                <a:latin typeface="Carlito"/>
                <a:ea typeface="+mn-ea"/>
                <a:cs typeface="Carlito"/>
              </a:rPr>
              <a:t>Bank in</a:t>
            </a:r>
            <a:r>
              <a:rPr kumimoji="0" sz="1600" b="0" i="0" u="none" strike="noStrike" kern="1200" cap="none" spc="30" normalizeH="0" baseline="0" noProof="0" dirty="0">
                <a:ln>
                  <a:noFill/>
                </a:ln>
                <a:solidFill>
                  <a:srgbClr val="FFFFFF"/>
                </a:solidFill>
                <a:effectLst/>
                <a:uLnTx/>
                <a:uFillTx/>
                <a:latin typeface="Carlito"/>
                <a:ea typeface="+mn-ea"/>
                <a:cs typeface="Carlito"/>
              </a:rPr>
              <a:t> </a:t>
            </a:r>
            <a:r>
              <a:rPr kumimoji="0" sz="1600" b="0" i="0" u="none" strike="noStrike" kern="1200" cap="none" spc="0" normalizeH="0" baseline="0" noProof="0" dirty="0">
                <a:ln>
                  <a:noFill/>
                </a:ln>
                <a:solidFill>
                  <a:srgbClr val="FFFFFF"/>
                </a:solidFill>
                <a:effectLst/>
                <a:uLnTx/>
                <a:uFillTx/>
                <a:latin typeface="Carlito"/>
                <a:ea typeface="+mn-ea"/>
                <a:cs typeface="Carlito"/>
              </a:rPr>
              <a:t>2019</a:t>
            </a:r>
            <a:endParaRPr kumimoji="0" sz="1600" b="0" i="0" u="none" strike="noStrike" kern="1200" cap="none" spc="0" normalizeH="0" baseline="0" noProof="0">
              <a:ln>
                <a:noFill/>
              </a:ln>
              <a:solidFill>
                <a:prstClr val="black"/>
              </a:solidFill>
              <a:effectLst/>
              <a:uLnTx/>
              <a:uFillTx/>
              <a:latin typeface="Carlito"/>
              <a:ea typeface="+mn-ea"/>
              <a:cs typeface="Carlito"/>
            </a:endParaRPr>
          </a:p>
          <a:p>
            <a:pPr marL="299085" marR="5080" lvl="0" indent="-287020" algn="l" defTabSz="914400" rtl="0" eaLnBrk="1" fontAlgn="auto" latinLnBrk="0" hangingPunct="1">
              <a:lnSpc>
                <a:spcPct val="100000"/>
              </a:lnSpc>
              <a:spcBef>
                <a:spcPts val="5"/>
              </a:spcBef>
              <a:spcAft>
                <a:spcPts val="0"/>
              </a:spcAft>
              <a:buClrTx/>
              <a:buSzTx/>
              <a:buFont typeface="Arial"/>
              <a:buChar char="•"/>
              <a:tabLst>
                <a:tab pos="299085" algn="l"/>
                <a:tab pos="299720" algn="l"/>
              </a:tabLst>
              <a:defRPr/>
            </a:pPr>
            <a:r>
              <a:rPr kumimoji="0" sz="1600" b="0" i="0" u="none" strike="noStrike" kern="1200" cap="none" spc="-10" normalizeH="0" baseline="0" noProof="0" dirty="0">
                <a:ln>
                  <a:noFill/>
                </a:ln>
                <a:solidFill>
                  <a:srgbClr val="FFFFFF"/>
                </a:solidFill>
                <a:effectLst/>
                <a:uLnTx/>
                <a:uFillTx/>
                <a:latin typeface="Carlito"/>
                <a:ea typeface="+mn-ea"/>
                <a:cs typeface="Carlito"/>
              </a:rPr>
              <a:t>Singapore </a:t>
            </a:r>
            <a:r>
              <a:rPr kumimoji="0" sz="1600" b="0" i="0" u="none" strike="noStrike" kern="1200" cap="none" spc="-5" normalizeH="0" baseline="0" noProof="0" dirty="0">
                <a:ln>
                  <a:noFill/>
                </a:ln>
                <a:solidFill>
                  <a:srgbClr val="FFFFFF"/>
                </a:solidFill>
                <a:effectLst/>
                <a:uLnTx/>
                <a:uFillTx/>
                <a:latin typeface="Carlito"/>
                <a:ea typeface="+mn-ea"/>
                <a:cs typeface="Carlito"/>
              </a:rPr>
              <a:t>also claimed the </a:t>
            </a:r>
            <a:r>
              <a:rPr kumimoji="0" sz="1600" b="0" i="0" u="none" strike="noStrike" kern="1200" cap="none" spc="-10" normalizeH="0" baseline="0" noProof="0" dirty="0">
                <a:ln>
                  <a:noFill/>
                </a:ln>
                <a:solidFill>
                  <a:srgbClr val="FFFFFF"/>
                </a:solidFill>
                <a:effectLst/>
                <a:uLnTx/>
                <a:uFillTx/>
                <a:latin typeface="Carlito"/>
                <a:ea typeface="+mn-ea"/>
                <a:cs typeface="Carlito"/>
              </a:rPr>
              <a:t>title </a:t>
            </a:r>
            <a:r>
              <a:rPr kumimoji="0" sz="1600" b="0" i="0" u="none" strike="noStrike" kern="1200" cap="none" spc="-5" normalizeH="0" baseline="0" noProof="0" dirty="0">
                <a:ln>
                  <a:noFill/>
                </a:ln>
                <a:solidFill>
                  <a:srgbClr val="FFFFFF"/>
                </a:solidFill>
                <a:effectLst/>
                <a:uLnTx/>
                <a:uFillTx/>
                <a:latin typeface="Carlito"/>
                <a:ea typeface="+mn-ea"/>
                <a:cs typeface="Carlito"/>
              </a:rPr>
              <a:t>of  world-leading </a:t>
            </a:r>
            <a:r>
              <a:rPr kumimoji="0" sz="1600" b="0" i="0" u="none" strike="noStrike" kern="1200" cap="none" spc="-10" normalizeH="0" baseline="0" noProof="0" dirty="0">
                <a:ln>
                  <a:noFill/>
                </a:ln>
                <a:solidFill>
                  <a:srgbClr val="FFFFFF"/>
                </a:solidFill>
                <a:effectLst/>
                <a:uLnTx/>
                <a:uFillTx/>
                <a:latin typeface="Carlito"/>
                <a:ea typeface="+mn-ea"/>
                <a:cs typeface="Carlito"/>
              </a:rPr>
              <a:t>technology innovation  </a:t>
            </a:r>
            <a:r>
              <a:rPr kumimoji="0" sz="1600" b="0" i="0" u="none" strike="noStrike" kern="1200" cap="none" spc="-15" normalizeH="0" baseline="0" noProof="0" dirty="0">
                <a:ln>
                  <a:noFill/>
                </a:ln>
                <a:solidFill>
                  <a:srgbClr val="FFFFFF"/>
                </a:solidFill>
                <a:effectLst/>
                <a:uLnTx/>
                <a:uFillTx/>
                <a:latin typeface="Carlito"/>
                <a:ea typeface="+mn-ea"/>
                <a:cs typeface="Carlito"/>
              </a:rPr>
              <a:t>centre</a:t>
            </a:r>
            <a:endParaRPr kumimoji="0" sz="1600" b="0" i="0" u="none" strike="noStrike" kern="1200" cap="none" spc="0" normalizeH="0" baseline="0" noProof="0">
              <a:ln>
                <a:noFill/>
              </a:ln>
              <a:solidFill>
                <a:prstClr val="black"/>
              </a:solidFill>
              <a:effectLst/>
              <a:uLnTx/>
              <a:uFillTx/>
              <a:latin typeface="Carlito"/>
              <a:ea typeface="+mn-ea"/>
              <a:cs typeface="Carlito"/>
            </a:endParaRPr>
          </a:p>
          <a:p>
            <a:pPr marL="299085" marR="154940" lvl="0" indent="-287020" algn="l" defTabSz="914400" rtl="0" eaLnBrk="1" fontAlgn="auto" latinLnBrk="0" hangingPunct="1">
              <a:lnSpc>
                <a:spcPct val="100000"/>
              </a:lnSpc>
              <a:spcBef>
                <a:spcPts val="0"/>
              </a:spcBef>
              <a:spcAft>
                <a:spcPts val="0"/>
              </a:spcAft>
              <a:buClrTx/>
              <a:buSzTx/>
              <a:buFont typeface="Arial"/>
              <a:buChar char="•"/>
              <a:tabLst>
                <a:tab pos="299085" algn="l"/>
                <a:tab pos="299720" algn="l"/>
              </a:tabLst>
              <a:defRPr/>
            </a:pPr>
            <a:r>
              <a:rPr kumimoji="0" sz="1600" b="0" i="0" u="none" strike="noStrike" kern="1200" cap="none" spc="-5" normalizeH="0" baseline="0" noProof="0" dirty="0">
                <a:ln>
                  <a:noFill/>
                </a:ln>
                <a:solidFill>
                  <a:srgbClr val="FFFFFF"/>
                </a:solidFill>
                <a:effectLst/>
                <a:uLnTx/>
                <a:uFillTx/>
                <a:latin typeface="Carlito"/>
                <a:ea typeface="+mn-ea"/>
                <a:cs typeface="Carlito"/>
              </a:rPr>
              <a:t>Unique </a:t>
            </a:r>
            <a:r>
              <a:rPr kumimoji="0" sz="1600" b="0" i="0" u="none" strike="noStrike" kern="1200" cap="none" spc="-10" normalizeH="0" baseline="0" noProof="0" dirty="0">
                <a:ln>
                  <a:noFill/>
                </a:ln>
                <a:solidFill>
                  <a:srgbClr val="FFFFFF"/>
                </a:solidFill>
                <a:effectLst/>
                <a:uLnTx/>
                <a:uFillTx/>
                <a:latin typeface="Carlito"/>
                <a:ea typeface="+mn-ea"/>
                <a:cs typeface="Carlito"/>
              </a:rPr>
              <a:t>position </a:t>
            </a:r>
            <a:r>
              <a:rPr kumimoji="0" sz="1600" b="0" i="0" u="none" strike="noStrike" kern="1200" cap="none" spc="-15" normalizeH="0" baseline="0" noProof="0" dirty="0">
                <a:ln>
                  <a:noFill/>
                </a:ln>
                <a:solidFill>
                  <a:srgbClr val="FFFFFF"/>
                </a:solidFill>
                <a:effectLst/>
                <a:uLnTx/>
                <a:uFillTx/>
                <a:latin typeface="Carlito"/>
                <a:ea typeface="+mn-ea"/>
                <a:cs typeface="Carlito"/>
              </a:rPr>
              <a:t>at </a:t>
            </a:r>
            <a:r>
              <a:rPr kumimoji="0" sz="1600" b="0" i="0" u="none" strike="noStrike" kern="1200" cap="none" spc="-5" normalizeH="0" baseline="0" noProof="0" dirty="0">
                <a:ln>
                  <a:noFill/>
                </a:ln>
                <a:solidFill>
                  <a:srgbClr val="FFFFFF"/>
                </a:solidFill>
                <a:effectLst/>
                <a:uLnTx/>
                <a:uFillTx/>
                <a:latin typeface="Carlito"/>
                <a:ea typeface="+mn-ea"/>
                <a:cs typeface="Carlito"/>
              </a:rPr>
              <a:t>the heart of the  </a:t>
            </a:r>
            <a:r>
              <a:rPr kumimoji="0" sz="1600" b="0" i="0" u="none" strike="noStrike" kern="1200" cap="none" spc="0" normalizeH="0" baseline="0" noProof="0" dirty="0">
                <a:ln>
                  <a:noFill/>
                </a:ln>
                <a:solidFill>
                  <a:srgbClr val="FFFFFF"/>
                </a:solidFill>
                <a:effectLst/>
                <a:uLnTx/>
                <a:uFillTx/>
                <a:latin typeface="Carlito"/>
                <a:ea typeface="+mn-ea"/>
                <a:cs typeface="Carlito"/>
              </a:rPr>
              <a:t>ASEAN</a:t>
            </a:r>
            <a:endParaRPr kumimoji="0" sz="1600" b="0" i="0" u="none" strike="noStrike" kern="1200" cap="none" spc="0" normalizeH="0" baseline="0" noProof="0">
              <a:ln>
                <a:noFill/>
              </a:ln>
              <a:solidFill>
                <a:prstClr val="black"/>
              </a:solidFill>
              <a:effectLst/>
              <a:uLnTx/>
              <a:uFillTx/>
              <a:latin typeface="Carlito"/>
              <a:ea typeface="+mn-ea"/>
              <a:cs typeface="Carlito"/>
            </a:endParaRPr>
          </a:p>
          <a:p>
            <a:pPr marL="0" marR="0" lvl="0" indent="0" algn="l" defTabSz="914400" rtl="0" eaLnBrk="1" fontAlgn="auto" latinLnBrk="0" hangingPunct="1">
              <a:lnSpc>
                <a:spcPct val="100000"/>
              </a:lnSpc>
              <a:spcBef>
                <a:spcPts val="30"/>
              </a:spcBef>
              <a:spcAft>
                <a:spcPts val="0"/>
              </a:spcAft>
              <a:buClr>
                <a:srgbClr val="FFFFFF"/>
              </a:buClr>
              <a:buSzTx/>
              <a:buFont typeface="Arial"/>
              <a:buChar char="•"/>
              <a:tabLst/>
              <a:defRPr/>
            </a:pPr>
            <a:endParaRPr kumimoji="0" sz="1550" b="0" i="0" u="none" strike="noStrike" kern="1200" cap="none" spc="0" normalizeH="0" baseline="0" noProof="0">
              <a:ln>
                <a:noFill/>
              </a:ln>
              <a:solidFill>
                <a:prstClr val="black"/>
              </a:solidFill>
              <a:effectLst/>
              <a:uLnTx/>
              <a:uFillTx/>
              <a:latin typeface="Carlito"/>
              <a:ea typeface="+mn-ea"/>
              <a:cs typeface="Carlito"/>
            </a:endParaRPr>
          </a:p>
          <a:p>
            <a:pPr marL="299085" marR="340995" lvl="0" indent="-287020" algn="l" defTabSz="914400" rtl="0" eaLnBrk="1" fontAlgn="auto" latinLnBrk="0" hangingPunct="1">
              <a:lnSpc>
                <a:spcPct val="100000"/>
              </a:lnSpc>
              <a:spcBef>
                <a:spcPts val="0"/>
              </a:spcBef>
              <a:spcAft>
                <a:spcPts val="0"/>
              </a:spcAft>
              <a:buClrTx/>
              <a:buSzTx/>
              <a:buFont typeface="Arial"/>
              <a:buChar char="•"/>
              <a:tabLst>
                <a:tab pos="299085" algn="l"/>
                <a:tab pos="299720" algn="l"/>
              </a:tabLst>
              <a:defRPr/>
            </a:pPr>
            <a:r>
              <a:rPr kumimoji="0" sz="1600" b="0" i="0" u="none" strike="noStrike" kern="1200" cap="none" spc="-10" normalizeH="0" baseline="0" noProof="0" dirty="0">
                <a:ln>
                  <a:noFill/>
                </a:ln>
                <a:solidFill>
                  <a:srgbClr val="FFFFFF"/>
                </a:solidFill>
                <a:effectLst/>
                <a:uLnTx/>
                <a:uFillTx/>
                <a:latin typeface="Carlito"/>
                <a:ea typeface="+mn-ea"/>
                <a:cs typeface="Carlito"/>
              </a:rPr>
              <a:t>Easy </a:t>
            </a:r>
            <a:r>
              <a:rPr kumimoji="0" sz="1600" b="0" i="0" u="none" strike="noStrike" kern="1200" cap="none" spc="-5" normalizeH="0" baseline="0" noProof="0" dirty="0">
                <a:ln>
                  <a:noFill/>
                </a:ln>
                <a:solidFill>
                  <a:srgbClr val="FFFFFF"/>
                </a:solidFill>
                <a:effectLst/>
                <a:uLnTx/>
                <a:uFillTx/>
                <a:latin typeface="Carlito"/>
                <a:ea typeface="+mn-ea"/>
                <a:cs typeface="Carlito"/>
              </a:rPr>
              <a:t>access </a:t>
            </a:r>
            <a:r>
              <a:rPr kumimoji="0" sz="1600" b="0" i="0" u="none" strike="noStrike" kern="1200" cap="none" spc="-20" normalizeH="0" baseline="0" noProof="0" dirty="0">
                <a:ln>
                  <a:noFill/>
                </a:ln>
                <a:solidFill>
                  <a:srgbClr val="FFFFFF"/>
                </a:solidFill>
                <a:effectLst/>
                <a:uLnTx/>
                <a:uFillTx/>
                <a:latin typeface="Carlito"/>
                <a:ea typeface="+mn-ea"/>
                <a:cs typeface="Carlito"/>
              </a:rPr>
              <a:t>to </a:t>
            </a:r>
            <a:r>
              <a:rPr kumimoji="0" sz="1600" b="0" i="0" u="none" strike="noStrike" kern="1200" cap="none" spc="-15" normalizeH="0" baseline="0" noProof="0" dirty="0">
                <a:ln>
                  <a:noFill/>
                </a:ln>
                <a:solidFill>
                  <a:srgbClr val="FFFFFF"/>
                </a:solidFill>
                <a:effectLst/>
                <a:uLnTx/>
                <a:uFillTx/>
                <a:latin typeface="Carlito"/>
                <a:ea typeface="+mn-ea"/>
                <a:cs typeface="Carlito"/>
              </a:rPr>
              <a:t>talent, capital </a:t>
            </a:r>
            <a:r>
              <a:rPr kumimoji="0" sz="1600" b="0" i="0" u="none" strike="noStrike" kern="1200" cap="none" spc="0" normalizeH="0" baseline="0" noProof="0" dirty="0">
                <a:ln>
                  <a:noFill/>
                </a:ln>
                <a:solidFill>
                  <a:srgbClr val="FFFFFF"/>
                </a:solidFill>
                <a:effectLst/>
                <a:uLnTx/>
                <a:uFillTx/>
                <a:latin typeface="Carlito"/>
                <a:ea typeface="+mn-ea"/>
                <a:cs typeface="Carlito"/>
              </a:rPr>
              <a:t>and  </a:t>
            </a:r>
            <a:r>
              <a:rPr kumimoji="0" sz="1600" b="0" i="0" u="none" strike="noStrike" kern="1200" cap="none" spc="-15" normalizeH="0" baseline="0" noProof="0" dirty="0">
                <a:ln>
                  <a:noFill/>
                </a:ln>
                <a:solidFill>
                  <a:srgbClr val="FFFFFF"/>
                </a:solidFill>
                <a:effectLst/>
                <a:uLnTx/>
                <a:uFillTx/>
                <a:latin typeface="Carlito"/>
                <a:ea typeface="+mn-ea"/>
                <a:cs typeface="Carlito"/>
              </a:rPr>
              <a:t>research</a:t>
            </a:r>
            <a:r>
              <a:rPr kumimoji="0" sz="1600" b="0" i="0" u="none" strike="noStrike" kern="1200" cap="none" spc="30" normalizeH="0" baseline="0" noProof="0" dirty="0">
                <a:ln>
                  <a:noFill/>
                </a:ln>
                <a:solidFill>
                  <a:srgbClr val="FFFFFF"/>
                </a:solidFill>
                <a:effectLst/>
                <a:uLnTx/>
                <a:uFillTx/>
                <a:latin typeface="Carlito"/>
                <a:ea typeface="+mn-ea"/>
                <a:cs typeface="Carlito"/>
              </a:rPr>
              <a:t> </a:t>
            </a:r>
            <a:r>
              <a:rPr kumimoji="0" sz="1600" b="0" i="0" u="none" strike="noStrike" kern="1200" cap="none" spc="-15" normalizeH="0" baseline="0" noProof="0" dirty="0">
                <a:ln>
                  <a:noFill/>
                </a:ln>
                <a:solidFill>
                  <a:srgbClr val="FFFFFF"/>
                </a:solidFill>
                <a:effectLst/>
                <a:uLnTx/>
                <a:uFillTx/>
                <a:latin typeface="Carlito"/>
                <a:ea typeface="+mn-ea"/>
                <a:cs typeface="Carlito"/>
              </a:rPr>
              <a:t>organizations</a:t>
            </a:r>
            <a:endParaRPr kumimoji="0" sz="1600" b="0" i="0" u="none" strike="noStrike" kern="1200" cap="none" spc="0" normalizeH="0" baseline="0" noProof="0">
              <a:ln>
                <a:noFill/>
              </a:ln>
              <a:solidFill>
                <a:prstClr val="black"/>
              </a:solidFill>
              <a:effectLst/>
              <a:uLnTx/>
              <a:uFillTx/>
              <a:latin typeface="Carlito"/>
              <a:ea typeface="+mn-ea"/>
              <a:cs typeface="Carlito"/>
            </a:endParaRPr>
          </a:p>
          <a:p>
            <a:pPr marL="0" marR="0" lvl="0" indent="0" algn="l" defTabSz="914400" rtl="0" eaLnBrk="1" fontAlgn="auto" latinLnBrk="0" hangingPunct="1">
              <a:lnSpc>
                <a:spcPct val="100000"/>
              </a:lnSpc>
              <a:spcBef>
                <a:spcPts val="30"/>
              </a:spcBef>
              <a:spcAft>
                <a:spcPts val="0"/>
              </a:spcAft>
              <a:buClr>
                <a:srgbClr val="FFFFFF"/>
              </a:buClr>
              <a:buSzTx/>
              <a:buFont typeface="Arial"/>
              <a:buChar char="•"/>
              <a:tabLst/>
              <a:defRPr/>
            </a:pPr>
            <a:endParaRPr kumimoji="0" sz="1550" b="0" i="0" u="none" strike="noStrike" kern="1200" cap="none" spc="0" normalizeH="0" baseline="0" noProof="0">
              <a:ln>
                <a:noFill/>
              </a:ln>
              <a:solidFill>
                <a:prstClr val="black"/>
              </a:solidFill>
              <a:effectLst/>
              <a:uLnTx/>
              <a:uFillTx/>
              <a:latin typeface="Carlito"/>
              <a:ea typeface="+mn-ea"/>
              <a:cs typeface="Carlito"/>
            </a:endParaRPr>
          </a:p>
          <a:p>
            <a:pPr marL="299085" marR="351155" lvl="0" indent="-287020" algn="l" defTabSz="914400" rtl="0" eaLnBrk="1" fontAlgn="auto" latinLnBrk="0" hangingPunct="1">
              <a:lnSpc>
                <a:spcPct val="100000"/>
              </a:lnSpc>
              <a:spcBef>
                <a:spcPts val="0"/>
              </a:spcBef>
              <a:spcAft>
                <a:spcPts val="0"/>
              </a:spcAft>
              <a:buClrTx/>
              <a:buSzTx/>
              <a:buFont typeface="Arial"/>
              <a:buChar char="•"/>
              <a:tabLst>
                <a:tab pos="299085" algn="l"/>
                <a:tab pos="299720" algn="l"/>
              </a:tabLst>
              <a:defRPr/>
            </a:pPr>
            <a:r>
              <a:rPr kumimoji="0" sz="1600" b="0" i="0" u="none" strike="noStrike" kern="1200" cap="none" spc="-15" normalizeH="0" baseline="0" noProof="0" dirty="0">
                <a:ln>
                  <a:noFill/>
                </a:ln>
                <a:solidFill>
                  <a:srgbClr val="FFFFFF"/>
                </a:solidFill>
                <a:effectLst/>
                <a:uLnTx/>
                <a:uFillTx/>
                <a:latin typeface="Carlito"/>
                <a:ea typeface="+mn-ea"/>
                <a:cs typeface="Carlito"/>
              </a:rPr>
              <a:t>Perfect </a:t>
            </a:r>
            <a:r>
              <a:rPr kumimoji="0" sz="1600" b="0" i="0" u="none" strike="noStrike" kern="1200" cap="none" spc="-20" normalizeH="0" baseline="0" noProof="0" dirty="0">
                <a:ln>
                  <a:noFill/>
                </a:ln>
                <a:solidFill>
                  <a:srgbClr val="FFFFFF"/>
                </a:solidFill>
                <a:effectLst/>
                <a:uLnTx/>
                <a:uFillTx/>
                <a:latin typeface="Carlito"/>
                <a:ea typeface="+mn-ea"/>
                <a:cs typeface="Carlito"/>
              </a:rPr>
              <a:t>gateway </a:t>
            </a:r>
            <a:r>
              <a:rPr kumimoji="0" sz="1600" b="0" i="0" u="none" strike="noStrike" kern="1200" cap="none" spc="-15" normalizeH="0" baseline="0" noProof="0" dirty="0">
                <a:ln>
                  <a:noFill/>
                </a:ln>
                <a:solidFill>
                  <a:srgbClr val="FFFFFF"/>
                </a:solidFill>
                <a:effectLst/>
                <a:uLnTx/>
                <a:uFillTx/>
                <a:latin typeface="Carlito"/>
                <a:ea typeface="+mn-ea"/>
                <a:cs typeface="Carlito"/>
              </a:rPr>
              <a:t>for startups </a:t>
            </a:r>
            <a:r>
              <a:rPr kumimoji="0" sz="1600" b="0" i="0" u="none" strike="noStrike" kern="1200" cap="none" spc="0" normalizeH="0" baseline="0" noProof="0" dirty="0">
                <a:ln>
                  <a:noFill/>
                </a:ln>
                <a:solidFill>
                  <a:srgbClr val="FFFFFF"/>
                </a:solidFill>
                <a:effectLst/>
                <a:uLnTx/>
                <a:uFillTx/>
                <a:latin typeface="Carlito"/>
                <a:ea typeface="+mn-ea"/>
                <a:cs typeface="Carlito"/>
              </a:rPr>
              <a:t>and  </a:t>
            </a:r>
            <a:r>
              <a:rPr kumimoji="0" sz="1600" b="0" i="0" u="none" strike="noStrike" kern="1200" cap="none" spc="-5" normalizeH="0" baseline="0" noProof="0" dirty="0">
                <a:ln>
                  <a:noFill/>
                </a:ln>
                <a:solidFill>
                  <a:srgbClr val="FFFFFF"/>
                </a:solidFill>
                <a:effectLst/>
                <a:uLnTx/>
                <a:uFillTx/>
                <a:latin typeface="Carlito"/>
                <a:ea typeface="+mn-ea"/>
                <a:cs typeface="Carlito"/>
              </a:rPr>
              <a:t>scale-ups </a:t>
            </a:r>
            <a:r>
              <a:rPr kumimoji="0" sz="1600" b="0" i="0" u="none" strike="noStrike" kern="1200" cap="none" spc="-20" normalizeH="0" baseline="0" noProof="0" dirty="0">
                <a:ln>
                  <a:noFill/>
                </a:ln>
                <a:solidFill>
                  <a:srgbClr val="FFFFFF"/>
                </a:solidFill>
                <a:effectLst/>
                <a:uLnTx/>
                <a:uFillTx/>
                <a:latin typeface="Carlito"/>
                <a:ea typeface="+mn-ea"/>
                <a:cs typeface="Carlito"/>
              </a:rPr>
              <a:t>to </a:t>
            </a:r>
            <a:r>
              <a:rPr kumimoji="0" sz="1600" b="0" i="0" u="none" strike="noStrike" kern="1200" cap="none" spc="-5" normalizeH="0" baseline="0" noProof="0" dirty="0">
                <a:ln>
                  <a:noFill/>
                </a:ln>
                <a:solidFill>
                  <a:srgbClr val="FFFFFF"/>
                </a:solidFill>
                <a:effectLst/>
                <a:uLnTx/>
                <a:uFillTx/>
                <a:latin typeface="Carlito"/>
                <a:ea typeface="+mn-ea"/>
                <a:cs typeface="Carlito"/>
              </a:rPr>
              <a:t>access </a:t>
            </a:r>
            <a:r>
              <a:rPr kumimoji="0" sz="1600" b="0" i="0" u="none" strike="noStrike" kern="1200" cap="none" spc="0" normalizeH="0" baseline="0" noProof="0" dirty="0">
                <a:ln>
                  <a:noFill/>
                </a:ln>
                <a:solidFill>
                  <a:srgbClr val="FFFFFF"/>
                </a:solidFill>
                <a:effectLst/>
                <a:uLnTx/>
                <a:uFillTx/>
                <a:latin typeface="Carlito"/>
                <a:ea typeface="+mn-ea"/>
                <a:cs typeface="Carlito"/>
              </a:rPr>
              <a:t>and </a:t>
            </a:r>
            <a:r>
              <a:rPr kumimoji="0" sz="1600" b="0" i="0" u="none" strike="noStrike" kern="1200" cap="none" spc="-10" normalizeH="0" baseline="0" noProof="0" dirty="0">
                <a:ln>
                  <a:noFill/>
                </a:ln>
                <a:solidFill>
                  <a:srgbClr val="FFFFFF"/>
                </a:solidFill>
                <a:effectLst/>
                <a:uLnTx/>
                <a:uFillTx/>
                <a:latin typeface="Carlito"/>
                <a:ea typeface="+mn-ea"/>
                <a:cs typeface="Carlito"/>
              </a:rPr>
              <a:t>scale </a:t>
            </a:r>
            <a:r>
              <a:rPr kumimoji="0" sz="1600" b="0" i="0" u="none" strike="noStrike" kern="1200" cap="none" spc="-5" normalizeH="0" baseline="0" noProof="0" dirty="0">
                <a:ln>
                  <a:noFill/>
                </a:ln>
                <a:solidFill>
                  <a:srgbClr val="FFFFFF"/>
                </a:solidFill>
                <a:effectLst/>
                <a:uLnTx/>
                <a:uFillTx/>
                <a:latin typeface="Carlito"/>
                <a:ea typeface="+mn-ea"/>
                <a:cs typeface="Carlito"/>
              </a:rPr>
              <a:t>in  </a:t>
            </a:r>
            <a:r>
              <a:rPr kumimoji="0" sz="1600" b="0" i="0" u="none" strike="noStrike" kern="1200" cap="none" spc="-10" normalizeH="0" baseline="0" noProof="0" dirty="0">
                <a:ln>
                  <a:noFill/>
                </a:ln>
                <a:solidFill>
                  <a:srgbClr val="FFFFFF"/>
                </a:solidFill>
                <a:effectLst/>
                <a:uLnTx/>
                <a:uFillTx/>
                <a:latin typeface="Carlito"/>
                <a:ea typeface="+mn-ea"/>
                <a:cs typeface="Carlito"/>
              </a:rPr>
              <a:t>Southeast</a:t>
            </a:r>
            <a:r>
              <a:rPr kumimoji="0" sz="1600" b="0" i="0" u="none" strike="noStrike" kern="1200" cap="none" spc="0" normalizeH="0" baseline="0" noProof="0" dirty="0">
                <a:ln>
                  <a:noFill/>
                </a:ln>
                <a:solidFill>
                  <a:srgbClr val="FFFFFF"/>
                </a:solidFill>
                <a:effectLst/>
                <a:uLnTx/>
                <a:uFillTx/>
                <a:latin typeface="Carlito"/>
                <a:ea typeface="+mn-ea"/>
                <a:cs typeface="Carlito"/>
              </a:rPr>
              <a:t> Asia.</a:t>
            </a:r>
            <a:endParaRPr kumimoji="0" sz="1600" b="0" i="0" u="none" strike="noStrike" kern="1200" cap="none" spc="0" normalizeH="0" baseline="0" noProof="0">
              <a:ln>
                <a:noFill/>
              </a:ln>
              <a:solidFill>
                <a:prstClr val="black"/>
              </a:solidFill>
              <a:effectLst/>
              <a:uLnTx/>
              <a:uFillTx/>
              <a:latin typeface="Carlito"/>
              <a:ea typeface="+mn-ea"/>
              <a:cs typeface="Carlito"/>
            </a:endParaRPr>
          </a:p>
          <a:p>
            <a:pPr marL="0" marR="0" lvl="0" indent="0" algn="l" defTabSz="914400" rtl="0" eaLnBrk="1" fontAlgn="auto" latinLnBrk="0" hangingPunct="1">
              <a:lnSpc>
                <a:spcPct val="100000"/>
              </a:lnSpc>
              <a:spcBef>
                <a:spcPts val="20"/>
              </a:spcBef>
              <a:spcAft>
                <a:spcPts val="0"/>
              </a:spcAft>
              <a:buClr>
                <a:srgbClr val="FFFFFF"/>
              </a:buClr>
              <a:buSzTx/>
              <a:buFont typeface="Arial"/>
              <a:buChar char="•"/>
              <a:tabLst/>
              <a:defRPr/>
            </a:pPr>
            <a:endParaRPr kumimoji="0" sz="1550" b="0" i="0" u="none" strike="noStrike" kern="1200" cap="none" spc="0" normalizeH="0" baseline="0" noProof="0">
              <a:ln>
                <a:noFill/>
              </a:ln>
              <a:solidFill>
                <a:prstClr val="black"/>
              </a:solidFill>
              <a:effectLst/>
              <a:uLnTx/>
              <a:uFillTx/>
              <a:latin typeface="Carlito"/>
              <a:ea typeface="+mn-ea"/>
              <a:cs typeface="Carlito"/>
            </a:endParaRPr>
          </a:p>
          <a:p>
            <a:pPr marL="299085" marR="13335" lvl="0" indent="-287020" algn="l" defTabSz="914400" rtl="0" eaLnBrk="1" fontAlgn="auto" latinLnBrk="0" hangingPunct="1">
              <a:lnSpc>
                <a:spcPct val="100699"/>
              </a:lnSpc>
              <a:spcBef>
                <a:spcPts val="0"/>
              </a:spcBef>
              <a:spcAft>
                <a:spcPts val="0"/>
              </a:spcAft>
              <a:buClrTx/>
              <a:buSzTx/>
              <a:buFont typeface="Arial"/>
              <a:buChar char="•"/>
              <a:tabLst>
                <a:tab pos="299085" algn="l"/>
                <a:tab pos="299720" algn="l"/>
              </a:tabLst>
              <a:defRPr/>
            </a:pPr>
            <a:r>
              <a:rPr kumimoji="0" sz="1600" b="0" i="0" u="none" strike="noStrike" kern="1200" cap="none" spc="-5" normalizeH="0" baseline="0" noProof="0" dirty="0">
                <a:ln>
                  <a:noFill/>
                </a:ln>
                <a:solidFill>
                  <a:srgbClr val="FFFFFF"/>
                </a:solidFill>
                <a:effectLst/>
                <a:uLnTx/>
                <a:uFillTx/>
                <a:latin typeface="Carlito"/>
                <a:ea typeface="+mn-ea"/>
                <a:cs typeface="Carlito"/>
              </a:rPr>
              <a:t>Advanced </a:t>
            </a:r>
            <a:r>
              <a:rPr kumimoji="0" sz="1600" b="0" i="0" u="none" strike="noStrike" kern="1200" cap="none" spc="0" normalizeH="0" baseline="0" noProof="0" dirty="0">
                <a:ln>
                  <a:noFill/>
                </a:ln>
                <a:solidFill>
                  <a:srgbClr val="FFFFFF"/>
                </a:solidFill>
                <a:effectLst/>
                <a:uLnTx/>
                <a:uFillTx/>
                <a:latin typeface="Carlito"/>
                <a:ea typeface="+mn-ea"/>
                <a:cs typeface="Carlito"/>
              </a:rPr>
              <a:t>IT </a:t>
            </a:r>
            <a:r>
              <a:rPr kumimoji="0" sz="1600" b="0" i="0" u="none" strike="noStrike" kern="1200" cap="none" spc="-15" normalizeH="0" baseline="0" noProof="0" dirty="0">
                <a:ln>
                  <a:noFill/>
                </a:ln>
                <a:solidFill>
                  <a:srgbClr val="FFFFFF"/>
                </a:solidFill>
                <a:effectLst/>
                <a:uLnTx/>
                <a:uFillTx/>
                <a:latin typeface="Carlito"/>
                <a:ea typeface="+mn-ea"/>
                <a:cs typeface="Carlito"/>
              </a:rPr>
              <a:t>infrastructure, strong  </a:t>
            </a:r>
            <a:r>
              <a:rPr kumimoji="0" sz="1600" b="0" i="0" u="none" strike="noStrike" kern="1200" cap="none" spc="-10" normalizeH="0" baseline="0" noProof="0" dirty="0">
                <a:ln>
                  <a:noFill/>
                </a:ln>
                <a:solidFill>
                  <a:srgbClr val="FFFFFF"/>
                </a:solidFill>
                <a:effectLst/>
                <a:uLnTx/>
                <a:uFillTx/>
                <a:latin typeface="Carlito"/>
                <a:ea typeface="+mn-ea"/>
                <a:cs typeface="Carlito"/>
              </a:rPr>
              <a:t>government </a:t>
            </a:r>
            <a:r>
              <a:rPr kumimoji="0" sz="1600" b="0" i="0" u="none" strike="noStrike" kern="1200" cap="none" spc="-5" normalizeH="0" baseline="0" noProof="0" dirty="0">
                <a:ln>
                  <a:noFill/>
                </a:ln>
                <a:solidFill>
                  <a:srgbClr val="FFFFFF"/>
                </a:solidFill>
                <a:effectLst/>
                <a:uLnTx/>
                <a:uFillTx/>
                <a:latin typeface="Carlito"/>
                <a:ea typeface="+mn-ea"/>
                <a:cs typeface="Carlito"/>
              </a:rPr>
              <a:t>support, </a:t>
            </a:r>
            <a:r>
              <a:rPr kumimoji="0" sz="1600" b="0" i="0" u="none" strike="noStrike" kern="1200" cap="none" spc="0" normalizeH="0" baseline="0" noProof="0" dirty="0">
                <a:ln>
                  <a:noFill/>
                </a:ln>
                <a:solidFill>
                  <a:srgbClr val="FFFFFF"/>
                </a:solidFill>
                <a:effectLst/>
                <a:uLnTx/>
                <a:uFillTx/>
                <a:latin typeface="Carlito"/>
                <a:ea typeface="+mn-ea"/>
                <a:cs typeface="Carlito"/>
              </a:rPr>
              <a:t>IP </a:t>
            </a:r>
            <a:r>
              <a:rPr kumimoji="0" sz="1600" b="0" i="0" u="none" strike="noStrike" kern="1200" cap="none" spc="-5" normalizeH="0" baseline="0" noProof="0" dirty="0">
                <a:ln>
                  <a:noFill/>
                </a:ln>
                <a:solidFill>
                  <a:srgbClr val="FFFFFF"/>
                </a:solidFill>
                <a:effectLst/>
                <a:uLnTx/>
                <a:uFillTx/>
                <a:latin typeface="Carlito"/>
                <a:ea typeface="+mn-ea"/>
                <a:cs typeface="Carlito"/>
              </a:rPr>
              <a:t>laws </a:t>
            </a:r>
            <a:r>
              <a:rPr kumimoji="0" sz="1600" b="0" i="0" u="none" strike="noStrike" kern="1200" cap="none" spc="5" normalizeH="0" baseline="0" noProof="0" dirty="0">
                <a:ln>
                  <a:noFill/>
                </a:ln>
                <a:solidFill>
                  <a:srgbClr val="FFFFFF"/>
                </a:solidFill>
                <a:effectLst/>
                <a:uLnTx/>
                <a:uFillTx/>
                <a:latin typeface="Carlito"/>
                <a:ea typeface="+mn-ea"/>
                <a:cs typeface="Carlito"/>
              </a:rPr>
              <a:t>&amp; </a:t>
            </a:r>
            <a:r>
              <a:rPr kumimoji="0" sz="1600" b="0" i="0" u="none" strike="noStrike" kern="1200" cap="none" spc="-5" normalizeH="0" baseline="0" noProof="0" dirty="0">
                <a:ln>
                  <a:noFill/>
                </a:ln>
                <a:solidFill>
                  <a:srgbClr val="FFFFFF"/>
                </a:solidFill>
                <a:effectLst/>
                <a:uLnTx/>
                <a:uFillTx/>
                <a:latin typeface="Carlito"/>
                <a:ea typeface="+mn-ea"/>
                <a:cs typeface="Carlito"/>
              </a:rPr>
              <a:t>deep  </a:t>
            </a:r>
            <a:r>
              <a:rPr kumimoji="0" sz="1600" b="0" i="0" u="none" strike="noStrike" kern="1200" cap="none" spc="-15" normalizeH="0" baseline="0" noProof="0" dirty="0">
                <a:ln>
                  <a:noFill/>
                </a:ln>
                <a:solidFill>
                  <a:srgbClr val="FFFFFF"/>
                </a:solidFill>
                <a:effectLst/>
                <a:uLnTx/>
                <a:uFillTx/>
                <a:latin typeface="Carlito"/>
                <a:ea typeface="+mn-ea"/>
                <a:cs typeface="Carlito"/>
              </a:rPr>
              <a:t>tech talent</a:t>
            </a:r>
            <a:r>
              <a:rPr kumimoji="0" sz="1600" b="0" i="0" u="none" strike="noStrike" kern="1200" cap="none" spc="50" normalizeH="0" baseline="0" noProof="0" dirty="0">
                <a:ln>
                  <a:noFill/>
                </a:ln>
                <a:solidFill>
                  <a:srgbClr val="FFFFFF"/>
                </a:solidFill>
                <a:effectLst/>
                <a:uLnTx/>
                <a:uFillTx/>
                <a:latin typeface="Carlito"/>
                <a:ea typeface="+mn-ea"/>
                <a:cs typeface="Carlito"/>
              </a:rPr>
              <a:t> </a:t>
            </a:r>
            <a:r>
              <a:rPr kumimoji="0" sz="1600" b="0" i="0" u="none" strike="noStrike" kern="1200" cap="none" spc="-5" normalizeH="0" baseline="0" noProof="0" dirty="0">
                <a:ln>
                  <a:noFill/>
                </a:ln>
                <a:solidFill>
                  <a:srgbClr val="FFFFFF"/>
                </a:solidFill>
                <a:effectLst/>
                <a:uLnTx/>
                <a:uFillTx/>
                <a:latin typeface="Carlito"/>
                <a:ea typeface="+mn-ea"/>
                <a:cs typeface="Carlito"/>
              </a:rPr>
              <a:t>pools</a:t>
            </a:r>
            <a:endParaRPr kumimoji="0" sz="1600" b="0" i="0" u="none" strike="noStrike" kern="1200" cap="none" spc="0" normalizeH="0" baseline="0" noProof="0">
              <a:ln>
                <a:noFill/>
              </a:ln>
              <a:solidFill>
                <a:prstClr val="black"/>
              </a:solidFill>
              <a:effectLst/>
              <a:uLnTx/>
              <a:uFillTx/>
              <a:latin typeface="Carlito"/>
              <a:ea typeface="+mn-ea"/>
              <a:cs typeface="Carlito"/>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970" rIns="0" bIns="0" rtlCol="0">
            <a:spAutoFit/>
          </a:bodyPr>
          <a:lstStyle/>
          <a:p>
            <a:pPr marL="67945">
              <a:lnSpc>
                <a:spcPct val="100000"/>
              </a:lnSpc>
              <a:spcBef>
                <a:spcPts val="110"/>
              </a:spcBef>
            </a:pPr>
            <a:r>
              <a:rPr spc="280" dirty="0"/>
              <a:t>Singapore </a:t>
            </a:r>
            <a:r>
              <a:rPr spc="20" dirty="0"/>
              <a:t>– </a:t>
            </a:r>
            <a:r>
              <a:rPr spc="75" dirty="0"/>
              <a:t>A </a:t>
            </a:r>
            <a:r>
              <a:rPr spc="310" dirty="0"/>
              <a:t>Vibrant </a:t>
            </a:r>
            <a:r>
              <a:rPr spc="265" dirty="0"/>
              <a:t>Innovation/ </a:t>
            </a:r>
            <a:r>
              <a:rPr spc="295" dirty="0"/>
              <a:t>Startup</a:t>
            </a:r>
            <a:r>
              <a:rPr spc="-520" dirty="0"/>
              <a:t> </a:t>
            </a:r>
            <a:r>
              <a:rPr spc="305" dirty="0"/>
              <a:t>Ecosystem</a:t>
            </a:r>
          </a:p>
        </p:txBody>
      </p:sp>
      <p:sp>
        <p:nvSpPr>
          <p:cNvPr id="3" name="object 3"/>
          <p:cNvSpPr/>
          <p:nvPr/>
        </p:nvSpPr>
        <p:spPr>
          <a:xfrm>
            <a:off x="557783" y="835152"/>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nvGrpSpPr>
          <p:cNvPr id="4" name="object 4"/>
          <p:cNvGrpSpPr/>
          <p:nvPr/>
        </p:nvGrpSpPr>
        <p:grpSpPr>
          <a:xfrm>
            <a:off x="539495" y="1042416"/>
            <a:ext cx="11247120" cy="5770245"/>
            <a:chOff x="539495" y="1042416"/>
            <a:chExt cx="11247120" cy="5770245"/>
          </a:xfrm>
        </p:grpSpPr>
        <p:sp>
          <p:nvSpPr>
            <p:cNvPr id="5" name="object 5"/>
            <p:cNvSpPr/>
            <p:nvPr/>
          </p:nvSpPr>
          <p:spPr>
            <a:xfrm>
              <a:off x="539495" y="1042416"/>
              <a:ext cx="6409944" cy="2929127"/>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p:nvPr/>
          </p:nvSpPr>
          <p:spPr>
            <a:xfrm>
              <a:off x="6095999" y="3883151"/>
              <a:ext cx="5690615" cy="2929125"/>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7" name="object 7"/>
          <p:cNvSpPr txBox="1"/>
          <p:nvPr/>
        </p:nvSpPr>
        <p:spPr>
          <a:xfrm>
            <a:off x="546608" y="4055109"/>
            <a:ext cx="4808855" cy="23812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a:t>
            </a:r>
            <a:r>
              <a:rPr kumimoji="0" sz="1400" b="0" i="0" u="none" strike="noStrike" kern="1200" cap="none" spc="-114" normalizeH="0" baseline="0" noProof="0" dirty="0">
                <a:ln>
                  <a:noFill/>
                </a:ln>
                <a:solidFill>
                  <a:srgbClr val="FFFFFF"/>
                </a:solidFill>
                <a:effectLst/>
                <a:uLnTx/>
                <a:uFillTx/>
                <a:latin typeface="Verdana"/>
                <a:ea typeface="+mn-ea"/>
                <a:cs typeface="Verdana"/>
              </a:rPr>
              <a:t> </a:t>
            </a:r>
            <a:r>
              <a:rPr kumimoji="0" sz="1400" b="0" i="0" u="none" strike="noStrike" kern="1200" cap="none" spc="-65" normalizeH="0" baseline="0" noProof="0" dirty="0">
                <a:ln>
                  <a:noFill/>
                </a:ln>
                <a:solidFill>
                  <a:srgbClr val="FFFFFF"/>
                </a:solidFill>
                <a:effectLst/>
                <a:uLnTx/>
                <a:uFillTx/>
                <a:latin typeface="Verdana"/>
                <a:ea typeface="+mn-ea"/>
                <a:cs typeface="Verdana"/>
              </a:rPr>
              <a:t>Independent</a:t>
            </a:r>
            <a:r>
              <a:rPr kumimoji="0" sz="1400" b="0" i="0" u="none" strike="noStrike" kern="1200" cap="none" spc="-135" normalizeH="0" baseline="0" noProof="0" dirty="0">
                <a:ln>
                  <a:noFill/>
                </a:ln>
                <a:solidFill>
                  <a:srgbClr val="FFFFFF"/>
                </a:solidFill>
                <a:effectLst/>
                <a:uLnTx/>
                <a:uFillTx/>
                <a:latin typeface="Verdana"/>
                <a:ea typeface="+mn-ea"/>
                <a:cs typeface="Verdana"/>
              </a:rPr>
              <a:t> </a:t>
            </a:r>
            <a:r>
              <a:rPr kumimoji="0" sz="1400" b="0" i="0" u="none" strike="noStrike" kern="1200" cap="none" spc="-90" normalizeH="0" baseline="0" noProof="0" dirty="0">
                <a:ln>
                  <a:noFill/>
                </a:ln>
                <a:solidFill>
                  <a:srgbClr val="FFFFFF"/>
                </a:solidFill>
                <a:effectLst/>
                <a:uLnTx/>
                <a:uFillTx/>
                <a:latin typeface="Verdana"/>
                <a:ea typeface="+mn-ea"/>
                <a:cs typeface="Verdana"/>
              </a:rPr>
              <a:t>study</a:t>
            </a:r>
            <a:r>
              <a:rPr kumimoji="0" sz="1400" b="0" i="0" u="none" strike="noStrike" kern="1200" cap="none" spc="-135" normalizeH="0" baseline="0" noProof="0" dirty="0">
                <a:ln>
                  <a:noFill/>
                </a:ln>
                <a:solidFill>
                  <a:srgbClr val="FFFFFF"/>
                </a:solidFill>
                <a:effectLst/>
                <a:uLnTx/>
                <a:uFillTx/>
                <a:latin typeface="Verdana"/>
                <a:ea typeface="+mn-ea"/>
                <a:cs typeface="Verdana"/>
              </a:rPr>
              <a:t> </a:t>
            </a:r>
            <a:r>
              <a:rPr kumimoji="0" sz="1400" b="0" i="0" u="none" strike="noStrike" kern="1200" cap="none" spc="-70" normalizeH="0" baseline="0" noProof="0" dirty="0">
                <a:ln>
                  <a:noFill/>
                </a:ln>
                <a:solidFill>
                  <a:srgbClr val="FFFFFF"/>
                </a:solidFill>
                <a:effectLst/>
                <a:uLnTx/>
                <a:uFillTx/>
                <a:latin typeface="Verdana"/>
                <a:ea typeface="+mn-ea"/>
                <a:cs typeface="Verdana"/>
              </a:rPr>
              <a:t>by</a:t>
            </a:r>
            <a:r>
              <a:rPr kumimoji="0" sz="1400" b="0" i="0" u="none" strike="noStrike" kern="1200" cap="none" spc="-110" normalizeH="0" baseline="0" noProof="0" dirty="0">
                <a:ln>
                  <a:noFill/>
                </a:ln>
                <a:solidFill>
                  <a:srgbClr val="FFFFFF"/>
                </a:solidFill>
                <a:effectLst/>
                <a:uLnTx/>
                <a:uFillTx/>
                <a:latin typeface="Verdana"/>
                <a:ea typeface="+mn-ea"/>
                <a:cs typeface="Verdana"/>
              </a:rPr>
              <a:t> </a:t>
            </a:r>
            <a:r>
              <a:rPr kumimoji="0" sz="1400" b="0" i="0" u="none" strike="noStrike" kern="1200" cap="none" spc="-80" normalizeH="0" baseline="0" noProof="0" dirty="0">
                <a:ln>
                  <a:noFill/>
                </a:ln>
                <a:solidFill>
                  <a:srgbClr val="FFFFFF"/>
                </a:solidFill>
                <a:effectLst/>
                <a:uLnTx/>
                <a:uFillTx/>
                <a:latin typeface="Verdana"/>
                <a:ea typeface="+mn-ea"/>
                <a:cs typeface="Verdana"/>
              </a:rPr>
              <a:t>the</a:t>
            </a:r>
            <a:r>
              <a:rPr kumimoji="0" sz="1400" b="0" i="0" u="none" strike="noStrike" kern="1200" cap="none" spc="-135" normalizeH="0" baseline="0" noProof="0" dirty="0">
                <a:ln>
                  <a:noFill/>
                </a:ln>
                <a:solidFill>
                  <a:srgbClr val="FFFFFF"/>
                </a:solidFill>
                <a:effectLst/>
                <a:uLnTx/>
                <a:uFillTx/>
                <a:latin typeface="Verdana"/>
                <a:ea typeface="+mn-ea"/>
                <a:cs typeface="Verdana"/>
              </a:rPr>
              <a:t> </a:t>
            </a:r>
            <a:r>
              <a:rPr kumimoji="0" sz="1400" b="0" i="0" u="none" strike="noStrike" kern="1200" cap="none" spc="-50" normalizeH="0" baseline="0" noProof="0" dirty="0">
                <a:ln>
                  <a:noFill/>
                </a:ln>
                <a:solidFill>
                  <a:srgbClr val="FFFFFF"/>
                </a:solidFill>
                <a:effectLst/>
                <a:uLnTx/>
                <a:uFillTx/>
                <a:latin typeface="Verdana"/>
                <a:ea typeface="+mn-ea"/>
                <a:cs typeface="Verdana"/>
              </a:rPr>
              <a:t>Kingdom</a:t>
            </a:r>
            <a:r>
              <a:rPr kumimoji="0" sz="1400" b="0" i="0" u="none" strike="noStrike" kern="1200" cap="none" spc="-130" normalizeH="0" baseline="0" noProof="0" dirty="0">
                <a:ln>
                  <a:noFill/>
                </a:ln>
                <a:solidFill>
                  <a:srgbClr val="FFFFFF"/>
                </a:solidFill>
                <a:effectLst/>
                <a:uLnTx/>
                <a:uFillTx/>
                <a:latin typeface="Verdana"/>
                <a:ea typeface="+mn-ea"/>
                <a:cs typeface="Verdana"/>
              </a:rPr>
              <a:t> </a:t>
            </a:r>
            <a:r>
              <a:rPr kumimoji="0" sz="1400" b="0" i="0" u="none" strike="noStrike" kern="1200" cap="none" spc="-50" normalizeH="0" baseline="0" noProof="0" dirty="0">
                <a:ln>
                  <a:noFill/>
                </a:ln>
                <a:solidFill>
                  <a:srgbClr val="FFFFFF"/>
                </a:solidFill>
                <a:effectLst/>
                <a:uLnTx/>
                <a:uFillTx/>
                <a:latin typeface="Verdana"/>
                <a:ea typeface="+mn-ea"/>
                <a:cs typeface="Verdana"/>
              </a:rPr>
              <a:t>of</a:t>
            </a:r>
            <a:r>
              <a:rPr kumimoji="0" sz="1400" b="0" i="0" u="none" strike="noStrike" kern="1200" cap="none" spc="-85" normalizeH="0" baseline="0" noProof="0" dirty="0">
                <a:ln>
                  <a:noFill/>
                </a:ln>
                <a:solidFill>
                  <a:srgbClr val="FFFFFF"/>
                </a:solidFill>
                <a:effectLst/>
                <a:uLnTx/>
                <a:uFillTx/>
                <a:latin typeface="Verdana"/>
                <a:ea typeface="+mn-ea"/>
                <a:cs typeface="Verdana"/>
              </a:rPr>
              <a:t> </a:t>
            </a:r>
            <a:r>
              <a:rPr kumimoji="0" sz="1400" b="0" i="0" u="none" strike="noStrike" kern="1200" cap="none" spc="-65" normalizeH="0" baseline="0" noProof="0" dirty="0">
                <a:ln>
                  <a:noFill/>
                </a:ln>
                <a:solidFill>
                  <a:srgbClr val="FFFFFF"/>
                </a:solidFill>
                <a:effectLst/>
                <a:uLnTx/>
                <a:uFillTx/>
                <a:latin typeface="Verdana"/>
                <a:ea typeface="+mn-ea"/>
                <a:cs typeface="Verdana"/>
              </a:rPr>
              <a:t>Netherlands</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8" name="object 8"/>
          <p:cNvSpPr txBox="1"/>
          <p:nvPr/>
        </p:nvSpPr>
        <p:spPr>
          <a:xfrm>
            <a:off x="546608" y="6548289"/>
            <a:ext cx="1327150" cy="210820"/>
          </a:xfrm>
          <a:prstGeom prst="rect">
            <a:avLst/>
          </a:prstGeom>
        </p:spPr>
        <p:txBody>
          <a:bodyPr vert="horz" wrap="square" lIns="0" tIns="6985" rIns="0" bIns="0" rtlCol="0">
            <a:spAutoFit/>
          </a:bodyPr>
          <a:lstStyle/>
          <a:p>
            <a:pPr marL="12700" marR="0" lvl="0" indent="0" algn="l" defTabSz="914400" rtl="0" eaLnBrk="1" fontAlgn="auto" latinLnBrk="0" hangingPunct="1">
              <a:lnSpc>
                <a:spcPct val="100000"/>
              </a:lnSpc>
              <a:spcBef>
                <a:spcPts val="55"/>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970" rIns="0" bIns="0" rtlCol="0">
            <a:spAutoFit/>
          </a:bodyPr>
          <a:lstStyle/>
          <a:p>
            <a:pPr marL="67945">
              <a:lnSpc>
                <a:spcPct val="100000"/>
              </a:lnSpc>
              <a:spcBef>
                <a:spcPts val="110"/>
              </a:spcBef>
            </a:pPr>
            <a:r>
              <a:rPr spc="280" dirty="0"/>
              <a:t>Singapore </a:t>
            </a:r>
            <a:r>
              <a:rPr spc="20" dirty="0"/>
              <a:t>– </a:t>
            </a:r>
            <a:r>
              <a:rPr spc="75" dirty="0"/>
              <a:t>A </a:t>
            </a:r>
            <a:r>
              <a:rPr spc="310" dirty="0"/>
              <a:t>Vibrant </a:t>
            </a:r>
            <a:r>
              <a:rPr spc="265" dirty="0"/>
              <a:t>Innovation/ </a:t>
            </a:r>
            <a:r>
              <a:rPr spc="295" dirty="0"/>
              <a:t>Startup</a:t>
            </a:r>
            <a:r>
              <a:rPr spc="-520" dirty="0"/>
              <a:t> </a:t>
            </a:r>
            <a:r>
              <a:rPr spc="305" dirty="0"/>
              <a:t>Ecosystem</a:t>
            </a:r>
          </a:p>
        </p:txBody>
      </p:sp>
      <p:sp>
        <p:nvSpPr>
          <p:cNvPr id="3" name="object 3"/>
          <p:cNvSpPr/>
          <p:nvPr/>
        </p:nvSpPr>
        <p:spPr>
          <a:xfrm>
            <a:off x="557783" y="835152"/>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637743" y="4598289"/>
            <a:ext cx="4808855" cy="23812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100" normalizeH="0" baseline="0" noProof="0" dirty="0">
                <a:ln>
                  <a:noFill/>
                </a:ln>
                <a:solidFill>
                  <a:srgbClr val="FFFFFF"/>
                </a:solidFill>
                <a:effectLst/>
                <a:uLnTx/>
                <a:uFillTx/>
                <a:latin typeface="Verdana"/>
                <a:ea typeface="+mn-ea"/>
                <a:cs typeface="Verdana"/>
              </a:rPr>
              <a:t>Source:</a:t>
            </a:r>
            <a:r>
              <a:rPr kumimoji="0" sz="1400" b="0" i="0" u="none" strike="noStrike" kern="1200" cap="none" spc="-114" normalizeH="0" baseline="0" noProof="0" dirty="0">
                <a:ln>
                  <a:noFill/>
                </a:ln>
                <a:solidFill>
                  <a:srgbClr val="FFFFFF"/>
                </a:solidFill>
                <a:effectLst/>
                <a:uLnTx/>
                <a:uFillTx/>
                <a:latin typeface="Verdana"/>
                <a:ea typeface="+mn-ea"/>
                <a:cs typeface="Verdana"/>
              </a:rPr>
              <a:t> </a:t>
            </a:r>
            <a:r>
              <a:rPr kumimoji="0" sz="1400" b="0" i="0" u="none" strike="noStrike" kern="1200" cap="none" spc="-65" normalizeH="0" baseline="0" noProof="0" dirty="0">
                <a:ln>
                  <a:noFill/>
                </a:ln>
                <a:solidFill>
                  <a:srgbClr val="FFFFFF"/>
                </a:solidFill>
                <a:effectLst/>
                <a:uLnTx/>
                <a:uFillTx/>
                <a:latin typeface="Verdana"/>
                <a:ea typeface="+mn-ea"/>
                <a:cs typeface="Verdana"/>
              </a:rPr>
              <a:t>Independent</a:t>
            </a:r>
            <a:r>
              <a:rPr kumimoji="0" sz="1400" b="0" i="0" u="none" strike="noStrike" kern="1200" cap="none" spc="-135" normalizeH="0" baseline="0" noProof="0" dirty="0">
                <a:ln>
                  <a:noFill/>
                </a:ln>
                <a:solidFill>
                  <a:srgbClr val="FFFFFF"/>
                </a:solidFill>
                <a:effectLst/>
                <a:uLnTx/>
                <a:uFillTx/>
                <a:latin typeface="Verdana"/>
                <a:ea typeface="+mn-ea"/>
                <a:cs typeface="Verdana"/>
              </a:rPr>
              <a:t> </a:t>
            </a:r>
            <a:r>
              <a:rPr kumimoji="0" sz="1400" b="0" i="0" u="none" strike="noStrike" kern="1200" cap="none" spc="-90" normalizeH="0" baseline="0" noProof="0" dirty="0">
                <a:ln>
                  <a:noFill/>
                </a:ln>
                <a:solidFill>
                  <a:srgbClr val="FFFFFF"/>
                </a:solidFill>
                <a:effectLst/>
                <a:uLnTx/>
                <a:uFillTx/>
                <a:latin typeface="Verdana"/>
                <a:ea typeface="+mn-ea"/>
                <a:cs typeface="Verdana"/>
              </a:rPr>
              <a:t>study</a:t>
            </a:r>
            <a:r>
              <a:rPr kumimoji="0" sz="1400" b="0" i="0" u="none" strike="noStrike" kern="1200" cap="none" spc="-135" normalizeH="0" baseline="0" noProof="0" dirty="0">
                <a:ln>
                  <a:noFill/>
                </a:ln>
                <a:solidFill>
                  <a:srgbClr val="FFFFFF"/>
                </a:solidFill>
                <a:effectLst/>
                <a:uLnTx/>
                <a:uFillTx/>
                <a:latin typeface="Verdana"/>
                <a:ea typeface="+mn-ea"/>
                <a:cs typeface="Verdana"/>
              </a:rPr>
              <a:t> </a:t>
            </a:r>
            <a:r>
              <a:rPr kumimoji="0" sz="1400" b="0" i="0" u="none" strike="noStrike" kern="1200" cap="none" spc="-70" normalizeH="0" baseline="0" noProof="0" dirty="0">
                <a:ln>
                  <a:noFill/>
                </a:ln>
                <a:solidFill>
                  <a:srgbClr val="FFFFFF"/>
                </a:solidFill>
                <a:effectLst/>
                <a:uLnTx/>
                <a:uFillTx/>
                <a:latin typeface="Verdana"/>
                <a:ea typeface="+mn-ea"/>
                <a:cs typeface="Verdana"/>
              </a:rPr>
              <a:t>by</a:t>
            </a:r>
            <a:r>
              <a:rPr kumimoji="0" sz="1400" b="0" i="0" u="none" strike="noStrike" kern="1200" cap="none" spc="-110" normalizeH="0" baseline="0" noProof="0" dirty="0">
                <a:ln>
                  <a:noFill/>
                </a:ln>
                <a:solidFill>
                  <a:srgbClr val="FFFFFF"/>
                </a:solidFill>
                <a:effectLst/>
                <a:uLnTx/>
                <a:uFillTx/>
                <a:latin typeface="Verdana"/>
                <a:ea typeface="+mn-ea"/>
                <a:cs typeface="Verdana"/>
              </a:rPr>
              <a:t> </a:t>
            </a:r>
            <a:r>
              <a:rPr kumimoji="0" sz="1400" b="0" i="0" u="none" strike="noStrike" kern="1200" cap="none" spc="-80" normalizeH="0" baseline="0" noProof="0" dirty="0">
                <a:ln>
                  <a:noFill/>
                </a:ln>
                <a:solidFill>
                  <a:srgbClr val="FFFFFF"/>
                </a:solidFill>
                <a:effectLst/>
                <a:uLnTx/>
                <a:uFillTx/>
                <a:latin typeface="Verdana"/>
                <a:ea typeface="+mn-ea"/>
                <a:cs typeface="Verdana"/>
              </a:rPr>
              <a:t>the</a:t>
            </a:r>
            <a:r>
              <a:rPr kumimoji="0" sz="1400" b="0" i="0" u="none" strike="noStrike" kern="1200" cap="none" spc="-135" normalizeH="0" baseline="0" noProof="0" dirty="0">
                <a:ln>
                  <a:noFill/>
                </a:ln>
                <a:solidFill>
                  <a:srgbClr val="FFFFFF"/>
                </a:solidFill>
                <a:effectLst/>
                <a:uLnTx/>
                <a:uFillTx/>
                <a:latin typeface="Verdana"/>
                <a:ea typeface="+mn-ea"/>
                <a:cs typeface="Verdana"/>
              </a:rPr>
              <a:t> </a:t>
            </a:r>
            <a:r>
              <a:rPr kumimoji="0" sz="1400" b="0" i="0" u="none" strike="noStrike" kern="1200" cap="none" spc="-50" normalizeH="0" baseline="0" noProof="0" dirty="0">
                <a:ln>
                  <a:noFill/>
                </a:ln>
                <a:solidFill>
                  <a:srgbClr val="FFFFFF"/>
                </a:solidFill>
                <a:effectLst/>
                <a:uLnTx/>
                <a:uFillTx/>
                <a:latin typeface="Verdana"/>
                <a:ea typeface="+mn-ea"/>
                <a:cs typeface="Verdana"/>
              </a:rPr>
              <a:t>Kingdom</a:t>
            </a:r>
            <a:r>
              <a:rPr kumimoji="0" sz="1400" b="0" i="0" u="none" strike="noStrike" kern="1200" cap="none" spc="-130" normalizeH="0" baseline="0" noProof="0" dirty="0">
                <a:ln>
                  <a:noFill/>
                </a:ln>
                <a:solidFill>
                  <a:srgbClr val="FFFFFF"/>
                </a:solidFill>
                <a:effectLst/>
                <a:uLnTx/>
                <a:uFillTx/>
                <a:latin typeface="Verdana"/>
                <a:ea typeface="+mn-ea"/>
                <a:cs typeface="Verdana"/>
              </a:rPr>
              <a:t> </a:t>
            </a:r>
            <a:r>
              <a:rPr kumimoji="0" sz="1400" b="0" i="0" u="none" strike="noStrike" kern="1200" cap="none" spc="-50" normalizeH="0" baseline="0" noProof="0" dirty="0">
                <a:ln>
                  <a:noFill/>
                </a:ln>
                <a:solidFill>
                  <a:srgbClr val="FFFFFF"/>
                </a:solidFill>
                <a:effectLst/>
                <a:uLnTx/>
                <a:uFillTx/>
                <a:latin typeface="Verdana"/>
                <a:ea typeface="+mn-ea"/>
                <a:cs typeface="Verdana"/>
              </a:rPr>
              <a:t>of</a:t>
            </a:r>
            <a:r>
              <a:rPr kumimoji="0" sz="1400" b="0" i="0" u="none" strike="noStrike" kern="1200" cap="none" spc="-85" normalizeH="0" baseline="0" noProof="0" dirty="0">
                <a:ln>
                  <a:noFill/>
                </a:ln>
                <a:solidFill>
                  <a:srgbClr val="FFFFFF"/>
                </a:solidFill>
                <a:effectLst/>
                <a:uLnTx/>
                <a:uFillTx/>
                <a:latin typeface="Verdana"/>
                <a:ea typeface="+mn-ea"/>
                <a:cs typeface="Verdana"/>
              </a:rPr>
              <a:t> </a:t>
            </a:r>
            <a:r>
              <a:rPr kumimoji="0" sz="1400" b="0" i="0" u="none" strike="noStrike" kern="1200" cap="none" spc="-65" normalizeH="0" baseline="0" noProof="0" dirty="0">
                <a:ln>
                  <a:noFill/>
                </a:ln>
                <a:solidFill>
                  <a:srgbClr val="FFFFFF"/>
                </a:solidFill>
                <a:effectLst/>
                <a:uLnTx/>
                <a:uFillTx/>
                <a:latin typeface="Verdana"/>
                <a:ea typeface="+mn-ea"/>
                <a:cs typeface="Verdana"/>
              </a:rPr>
              <a:t>Netherlands</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grpSp>
        <p:nvGrpSpPr>
          <p:cNvPr id="5" name="object 5"/>
          <p:cNvGrpSpPr/>
          <p:nvPr/>
        </p:nvGrpSpPr>
        <p:grpSpPr>
          <a:xfrm>
            <a:off x="582168" y="1103375"/>
            <a:ext cx="11402695" cy="5587365"/>
            <a:chOff x="582168" y="1103375"/>
            <a:chExt cx="11402695" cy="5587365"/>
          </a:xfrm>
        </p:grpSpPr>
        <p:sp>
          <p:nvSpPr>
            <p:cNvPr id="6" name="object 6"/>
            <p:cNvSpPr/>
            <p:nvPr/>
          </p:nvSpPr>
          <p:spPr>
            <a:xfrm>
              <a:off x="582168" y="1103375"/>
              <a:ext cx="5943600" cy="3419855"/>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7" name="object 7"/>
            <p:cNvSpPr/>
            <p:nvPr/>
          </p:nvSpPr>
          <p:spPr>
            <a:xfrm>
              <a:off x="6525768" y="3587496"/>
              <a:ext cx="5458968" cy="3102864"/>
            </a:xfrm>
            <a:prstGeom prst="rect">
              <a:avLst/>
            </a:prstGeom>
            <a:blipFill>
              <a:blip r:embed="rId3"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grpSp>
      <p:sp>
        <p:nvSpPr>
          <p:cNvPr id="8" name="object 8"/>
          <p:cNvSpPr txBox="1"/>
          <p:nvPr/>
        </p:nvSpPr>
        <p:spPr>
          <a:xfrm>
            <a:off x="546608" y="6548289"/>
            <a:ext cx="1327150" cy="210820"/>
          </a:xfrm>
          <a:prstGeom prst="rect">
            <a:avLst/>
          </a:prstGeom>
        </p:spPr>
        <p:txBody>
          <a:bodyPr vert="horz" wrap="square" lIns="0" tIns="6985" rIns="0" bIns="0" rtlCol="0">
            <a:spAutoFit/>
          </a:bodyPr>
          <a:lstStyle/>
          <a:p>
            <a:pPr marL="12700" marR="0" lvl="0" indent="0" algn="l" defTabSz="914400" rtl="0" eaLnBrk="1" fontAlgn="auto" latinLnBrk="0" hangingPunct="1">
              <a:lnSpc>
                <a:spcPct val="100000"/>
              </a:lnSpc>
              <a:spcBef>
                <a:spcPts val="55"/>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6303" y="239014"/>
            <a:ext cx="2705100" cy="574040"/>
          </a:xfrm>
          <a:prstGeom prst="rect">
            <a:avLst/>
          </a:prstGeom>
        </p:spPr>
        <p:txBody>
          <a:bodyPr vert="horz" wrap="square" lIns="0" tIns="12700" rIns="0" bIns="0" rtlCol="0">
            <a:spAutoFit/>
          </a:bodyPr>
          <a:lstStyle/>
          <a:p>
            <a:pPr marL="12700">
              <a:lnSpc>
                <a:spcPct val="100000"/>
              </a:lnSpc>
              <a:spcBef>
                <a:spcPts val="100"/>
              </a:spcBef>
            </a:pPr>
            <a:r>
              <a:rPr sz="3600" spc="180" dirty="0"/>
              <a:t>R</a:t>
            </a:r>
            <a:r>
              <a:rPr sz="3600" spc="320" dirty="0"/>
              <a:t>e</a:t>
            </a:r>
            <a:r>
              <a:rPr sz="3600" spc="325" dirty="0"/>
              <a:t>s</a:t>
            </a:r>
            <a:r>
              <a:rPr sz="3600" spc="425" dirty="0"/>
              <a:t>o</a:t>
            </a:r>
            <a:r>
              <a:rPr sz="3600" spc="355" dirty="0"/>
              <a:t>u</a:t>
            </a:r>
            <a:r>
              <a:rPr sz="3600" spc="350" dirty="0"/>
              <a:t>rc</a:t>
            </a:r>
            <a:r>
              <a:rPr sz="3600" spc="320" dirty="0"/>
              <a:t>e</a:t>
            </a:r>
            <a:r>
              <a:rPr sz="3600" spc="20" dirty="0"/>
              <a:t>s</a:t>
            </a:r>
            <a:endParaRPr sz="3600"/>
          </a:p>
        </p:txBody>
      </p:sp>
      <p:sp>
        <p:nvSpPr>
          <p:cNvPr id="3" name="object 3"/>
          <p:cNvSpPr/>
          <p:nvPr/>
        </p:nvSpPr>
        <p:spPr>
          <a:xfrm>
            <a:off x="466344" y="932688"/>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txBox="1"/>
          <p:nvPr/>
        </p:nvSpPr>
        <p:spPr>
          <a:xfrm>
            <a:off x="826109" y="1279398"/>
            <a:ext cx="8978265" cy="5123815"/>
          </a:xfrm>
          <a:prstGeom prst="rect">
            <a:avLst/>
          </a:prstGeom>
        </p:spPr>
        <p:txBody>
          <a:bodyPr vert="horz" wrap="square" lIns="0" tIns="12700" rIns="0" bIns="0" rtlCol="0">
            <a:spAutoFit/>
          </a:bodyPr>
          <a:lstStyle/>
          <a:p>
            <a:pPr marL="283845" marR="173355" lvl="0" indent="-271780" algn="l" defTabSz="914400" rtl="0" eaLnBrk="1" fontAlgn="auto" latinLnBrk="0" hangingPunct="1">
              <a:lnSpc>
                <a:spcPct val="125600"/>
              </a:lnSpc>
              <a:spcBef>
                <a:spcPts val="100"/>
              </a:spcBef>
              <a:spcAft>
                <a:spcPts val="0"/>
              </a:spcAft>
              <a:buClrTx/>
              <a:buSzTx/>
              <a:buFont typeface="Arial"/>
              <a:buChar char="•"/>
              <a:tabLst>
                <a:tab pos="283845" algn="l"/>
                <a:tab pos="284480" algn="l"/>
              </a:tabLst>
              <a:defRPr/>
            </a:pPr>
            <a:r>
              <a:rPr kumimoji="0" sz="1800" b="0" i="0" u="none" strike="noStrike" kern="1200" cap="none" spc="-95" normalizeH="0" baseline="0" noProof="0" dirty="0">
                <a:ln>
                  <a:noFill/>
                </a:ln>
                <a:solidFill>
                  <a:srgbClr val="FFFFFF"/>
                </a:solidFill>
                <a:effectLst/>
                <a:uLnTx/>
                <a:uFillTx/>
                <a:latin typeface="Verdana"/>
                <a:ea typeface="+mn-ea"/>
                <a:cs typeface="Verdana"/>
                <a:hlinkClick r:id="rId2"/>
              </a:rPr>
              <a:t>RIE2025 </a:t>
            </a:r>
            <a:r>
              <a:rPr kumimoji="0" sz="1800" b="0" i="0" u="none" strike="noStrike" kern="1200" cap="none" spc="-75" normalizeH="0" baseline="0" noProof="0" dirty="0">
                <a:ln>
                  <a:noFill/>
                </a:ln>
                <a:solidFill>
                  <a:srgbClr val="FFFFFF"/>
                </a:solidFill>
                <a:effectLst/>
                <a:uLnTx/>
                <a:uFillTx/>
                <a:latin typeface="Verdana"/>
                <a:ea typeface="+mn-ea"/>
                <a:cs typeface="Verdana"/>
                <a:hlinkClick r:id="rId2"/>
              </a:rPr>
              <a:t>Plan:</a:t>
            </a:r>
            <a:r>
              <a:rPr kumimoji="0" sz="1800" b="0" i="0" u="none" strike="noStrike" kern="1200" cap="none" spc="-75" normalizeH="0" baseline="0" noProof="0" dirty="0">
                <a:ln>
                  <a:noFill/>
                </a:ln>
                <a:solidFill>
                  <a:srgbClr val="3D8FF0"/>
                </a:solidFill>
                <a:effectLst/>
                <a:uLnTx/>
                <a:uFillTx/>
                <a:latin typeface="Verdana"/>
                <a:ea typeface="+mn-ea"/>
                <a:cs typeface="Verdana"/>
                <a:hlinkClick r:id="rId2"/>
              </a:rPr>
              <a:t> </a:t>
            </a:r>
            <a:r>
              <a:rPr kumimoji="0" sz="1800" b="0" i="0" u="sng" strike="noStrike" kern="1200" cap="none" spc="-60" normalizeH="0" baseline="0" noProof="0" dirty="0">
                <a:ln>
                  <a:noFill/>
                </a:ln>
                <a:solidFill>
                  <a:srgbClr val="3D8FF0"/>
                </a:solidFill>
                <a:effectLst/>
                <a:uLnTx/>
                <a:uFill>
                  <a:solidFill>
                    <a:srgbClr val="3D8FF0"/>
                  </a:solidFill>
                </a:uFill>
                <a:latin typeface="Verdana"/>
                <a:ea typeface="+mn-ea"/>
                <a:cs typeface="Verdana"/>
                <a:hlinkClick r:id="rId2"/>
              </a:rPr>
              <a:t>https://www.nrf.gov.sg/docs/default-source/default-document-  </a:t>
            </a:r>
            <a:r>
              <a:rPr kumimoji="0" sz="1800" b="0" i="0" u="sng" strike="noStrike" kern="1200" cap="none" spc="-40" normalizeH="0" baseline="0" noProof="0" dirty="0">
                <a:ln>
                  <a:noFill/>
                </a:ln>
                <a:solidFill>
                  <a:srgbClr val="3D8FF0"/>
                </a:solidFill>
                <a:effectLst/>
                <a:uLnTx/>
                <a:uFill>
                  <a:solidFill>
                    <a:srgbClr val="3D8FF0"/>
                  </a:solidFill>
                </a:uFill>
                <a:latin typeface="Verdana"/>
                <a:ea typeface="+mn-ea"/>
                <a:cs typeface="Verdana"/>
                <a:hlinkClick r:id="rId2"/>
              </a:rPr>
              <a:t>library/rie_booklet_fa2021_pages.pdf</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1219200" lvl="0" indent="-271780" algn="l" defTabSz="914400" rtl="0" eaLnBrk="1" fontAlgn="auto" latinLnBrk="0" hangingPunct="1">
              <a:lnSpc>
                <a:spcPct val="125000"/>
              </a:lnSpc>
              <a:spcBef>
                <a:spcPts val="994"/>
              </a:spcBef>
              <a:spcAft>
                <a:spcPts val="0"/>
              </a:spcAft>
              <a:buClrTx/>
              <a:buSzTx/>
              <a:buFont typeface="Arial"/>
              <a:buChar char="•"/>
              <a:tabLst>
                <a:tab pos="283845" algn="l"/>
                <a:tab pos="284480" algn="l"/>
              </a:tabLst>
              <a:defRPr/>
            </a:pPr>
            <a:r>
              <a:rPr kumimoji="0" sz="1800" b="0" i="0" u="none" strike="noStrike" kern="1200" cap="none" spc="-30" normalizeH="0" baseline="0" noProof="0" dirty="0">
                <a:ln>
                  <a:noFill/>
                </a:ln>
                <a:solidFill>
                  <a:srgbClr val="FFFFFF"/>
                </a:solidFill>
                <a:effectLst/>
                <a:uLnTx/>
                <a:uFillTx/>
                <a:latin typeface="Verdana"/>
                <a:ea typeface="+mn-ea"/>
                <a:cs typeface="Verdana"/>
                <a:hlinkClick r:id="rId3"/>
              </a:rPr>
              <a:t>National </a:t>
            </a:r>
            <a:r>
              <a:rPr kumimoji="0" sz="1800" b="0" i="0" u="none" strike="noStrike" kern="1200" cap="none" spc="-50" normalizeH="0" baseline="0" noProof="0" dirty="0">
                <a:ln>
                  <a:noFill/>
                </a:ln>
                <a:solidFill>
                  <a:srgbClr val="FFFFFF"/>
                </a:solidFill>
                <a:effectLst/>
                <a:uLnTx/>
                <a:uFillTx/>
                <a:latin typeface="Verdana"/>
                <a:ea typeface="+mn-ea"/>
                <a:cs typeface="Verdana"/>
                <a:hlinkClick r:id="rId3"/>
              </a:rPr>
              <a:t>R&amp;D </a:t>
            </a:r>
            <a:r>
              <a:rPr kumimoji="0" sz="1800" b="0" i="0" u="none" strike="noStrike" kern="1200" cap="none" spc="-105" normalizeH="0" baseline="0" noProof="0" dirty="0">
                <a:ln>
                  <a:noFill/>
                </a:ln>
                <a:solidFill>
                  <a:srgbClr val="FFFFFF"/>
                </a:solidFill>
                <a:effectLst/>
                <a:uLnTx/>
                <a:uFillTx/>
                <a:latin typeface="Verdana"/>
                <a:ea typeface="+mn-ea"/>
                <a:cs typeface="Verdana"/>
                <a:hlinkClick r:id="rId3"/>
              </a:rPr>
              <a:t>Survey </a:t>
            </a:r>
            <a:r>
              <a:rPr kumimoji="0" sz="1800" b="0" i="0" u="none" strike="noStrike" kern="1200" cap="none" spc="-90" normalizeH="0" baseline="0" noProof="0" dirty="0">
                <a:ln>
                  <a:noFill/>
                </a:ln>
                <a:solidFill>
                  <a:srgbClr val="FFFFFF"/>
                </a:solidFill>
                <a:effectLst/>
                <a:uLnTx/>
                <a:uFillTx/>
                <a:latin typeface="Verdana"/>
                <a:ea typeface="+mn-ea"/>
                <a:cs typeface="Verdana"/>
                <a:hlinkClick r:id="rId3"/>
              </a:rPr>
              <a:t>2018:</a:t>
            </a:r>
            <a:r>
              <a:rPr kumimoji="0" sz="1800" b="0" i="0" u="none" strike="noStrike" kern="1200" cap="none" spc="-90" normalizeH="0" baseline="0" noProof="0" dirty="0">
                <a:ln>
                  <a:noFill/>
                </a:ln>
                <a:solidFill>
                  <a:srgbClr val="3D8FF0"/>
                </a:solidFill>
                <a:effectLst/>
                <a:uLnTx/>
                <a:uFillTx/>
                <a:latin typeface="Verdana"/>
                <a:ea typeface="+mn-ea"/>
                <a:cs typeface="Verdana"/>
                <a:hlinkClick r:id="rId3"/>
              </a:rPr>
              <a:t> </a:t>
            </a:r>
            <a:r>
              <a:rPr kumimoji="0" sz="1800" b="0" i="0" u="sng" strike="noStrike" kern="1200" cap="none" spc="-110" normalizeH="0" baseline="0" noProof="0" dirty="0">
                <a:ln>
                  <a:noFill/>
                </a:ln>
                <a:solidFill>
                  <a:srgbClr val="3D8FF0"/>
                </a:solidFill>
                <a:effectLst/>
                <a:uLnTx/>
                <a:uFill>
                  <a:solidFill>
                    <a:srgbClr val="3D8FF0"/>
                  </a:solidFill>
                </a:uFill>
                <a:latin typeface="Verdana"/>
                <a:ea typeface="+mn-ea"/>
                <a:cs typeface="Verdana"/>
                <a:hlinkClick r:id="rId3"/>
              </a:rPr>
              <a:t>https://www.a-  </a:t>
            </a:r>
            <a:r>
              <a:rPr kumimoji="0" sz="1800" b="0" i="0" u="sng" strike="noStrike" kern="1200" cap="none" spc="-45" normalizeH="0" baseline="0" noProof="0" dirty="0">
                <a:ln>
                  <a:noFill/>
                </a:ln>
                <a:solidFill>
                  <a:srgbClr val="3D8FF0"/>
                </a:solidFill>
                <a:effectLst/>
                <a:uLnTx/>
                <a:uFill>
                  <a:solidFill>
                    <a:srgbClr val="3D8FF0"/>
                  </a:solidFill>
                </a:uFill>
                <a:latin typeface="Verdana"/>
                <a:ea typeface="+mn-ea"/>
                <a:cs typeface="Verdana"/>
                <a:hlinkClick r:id="rId3"/>
              </a:rPr>
              <a:t>star.edu.sg/docs/librariesprovider1/default-document-library/news-  </a:t>
            </a:r>
            <a:r>
              <a:rPr kumimoji="0" sz="1800" b="0" i="0" u="sng" strike="noStrike" kern="1200" cap="none" spc="-55" normalizeH="0" baseline="0" noProof="0" dirty="0">
                <a:ln>
                  <a:noFill/>
                </a:ln>
                <a:solidFill>
                  <a:srgbClr val="3D8FF0"/>
                </a:solidFill>
                <a:effectLst/>
                <a:uLnTx/>
                <a:uFill>
                  <a:solidFill>
                    <a:srgbClr val="3D8FF0"/>
                  </a:solidFill>
                </a:uFill>
                <a:latin typeface="Verdana"/>
                <a:ea typeface="+mn-ea"/>
                <a:cs typeface="Verdana"/>
                <a:hlinkClick r:id="rId3"/>
              </a:rPr>
              <a:t>events/publications/national-survey-of-r-d-2018.pdf</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5080" lvl="0" indent="-271780" algn="l" defTabSz="914400" rtl="0" eaLnBrk="1" fontAlgn="auto" latinLnBrk="0" hangingPunct="1">
              <a:lnSpc>
                <a:spcPct val="125099"/>
              </a:lnSpc>
              <a:spcBef>
                <a:spcPts val="994"/>
              </a:spcBef>
              <a:spcAft>
                <a:spcPts val="0"/>
              </a:spcAft>
              <a:buClrTx/>
              <a:buSzTx/>
              <a:buFont typeface="Arial"/>
              <a:buChar char="•"/>
              <a:tabLst>
                <a:tab pos="283845" algn="l"/>
                <a:tab pos="284480" algn="l"/>
              </a:tabLst>
              <a:defRPr/>
            </a:pPr>
            <a:r>
              <a:rPr kumimoji="0" sz="1800" b="0" i="0" u="none" strike="noStrike" kern="1200" cap="none" spc="-40" normalizeH="0" baseline="0" noProof="0" dirty="0">
                <a:ln>
                  <a:noFill/>
                </a:ln>
                <a:solidFill>
                  <a:srgbClr val="FFFFFF"/>
                </a:solidFill>
                <a:effectLst/>
                <a:uLnTx/>
                <a:uFillTx/>
                <a:latin typeface="Verdana"/>
                <a:ea typeface="+mn-ea"/>
                <a:cs typeface="Verdana"/>
              </a:rPr>
              <a:t>Singapore, </a:t>
            </a:r>
            <a:r>
              <a:rPr kumimoji="0" sz="1800" b="0" i="0" u="none" strike="noStrike" kern="1200" cap="none" spc="-10" normalizeH="0" baseline="0" noProof="0" dirty="0">
                <a:ln>
                  <a:noFill/>
                </a:ln>
                <a:solidFill>
                  <a:srgbClr val="FFFFFF"/>
                </a:solidFill>
                <a:effectLst/>
                <a:uLnTx/>
                <a:uFillTx/>
                <a:latin typeface="Verdana"/>
                <a:ea typeface="+mn-ea"/>
                <a:cs typeface="Verdana"/>
              </a:rPr>
              <a:t>Hub </a:t>
            </a:r>
            <a:r>
              <a:rPr kumimoji="0" sz="1800" b="0" i="0" u="none" strike="noStrike" kern="1200" cap="none" spc="-25" normalizeH="0" baseline="0" noProof="0" dirty="0">
                <a:ln>
                  <a:noFill/>
                </a:ln>
                <a:solidFill>
                  <a:srgbClr val="FFFFFF"/>
                </a:solidFill>
                <a:effectLst/>
                <a:uLnTx/>
                <a:uFillTx/>
                <a:latin typeface="Verdana"/>
                <a:ea typeface="+mn-ea"/>
                <a:cs typeface="Verdana"/>
              </a:rPr>
              <a:t>of </a:t>
            </a:r>
            <a:r>
              <a:rPr kumimoji="0" sz="1800" b="0" i="0" u="none" strike="noStrike" kern="1200" cap="none" spc="-80" normalizeH="0" baseline="0" noProof="0" dirty="0">
                <a:ln>
                  <a:noFill/>
                </a:ln>
                <a:solidFill>
                  <a:srgbClr val="FFFFFF"/>
                </a:solidFill>
                <a:effectLst/>
                <a:uLnTx/>
                <a:uFillTx/>
                <a:latin typeface="Verdana"/>
                <a:ea typeface="+mn-ea"/>
                <a:cs typeface="Verdana"/>
              </a:rPr>
              <a:t>Innovation: </a:t>
            </a:r>
            <a:r>
              <a:rPr kumimoji="0" sz="1800" b="0" i="0" u="sng" strike="noStrike" kern="1200" cap="none" spc="-80" normalizeH="0" baseline="0" noProof="0" dirty="0">
                <a:ln>
                  <a:noFill/>
                </a:ln>
                <a:solidFill>
                  <a:srgbClr val="3D8FF0"/>
                </a:solidFill>
                <a:effectLst/>
                <a:uLnTx/>
                <a:uFill>
                  <a:solidFill>
                    <a:srgbClr val="3D8FF0"/>
                  </a:solidFill>
                </a:uFill>
                <a:latin typeface="Verdana"/>
                <a:ea typeface="+mn-ea"/>
                <a:cs typeface="Verdana"/>
                <a:hlinkClick r:id="rId4"/>
              </a:rPr>
              <a:t> </a:t>
            </a:r>
            <a:r>
              <a:rPr kumimoji="0" sz="1800" b="0" i="0" u="sng" strike="noStrike" kern="1200" cap="none" spc="-55" normalizeH="0" baseline="0" noProof="0" dirty="0">
                <a:ln>
                  <a:noFill/>
                </a:ln>
                <a:solidFill>
                  <a:srgbClr val="3D8FF0"/>
                </a:solidFill>
                <a:effectLst/>
                <a:uLnTx/>
                <a:uFill>
                  <a:solidFill>
                    <a:srgbClr val="3D8FF0"/>
                  </a:solidFill>
                </a:uFill>
                <a:latin typeface="Verdana"/>
                <a:ea typeface="+mn-ea"/>
                <a:cs typeface="Verdana"/>
                <a:hlinkClick r:id="rId4"/>
              </a:rPr>
              <a:t>file:///C:/Users/Pauline/Downloads/Singapore+startup+ecosystem_Oct2020_p  </a:t>
            </a:r>
            <a:r>
              <a:rPr kumimoji="0" sz="1800" b="0" i="0" u="sng" strike="noStrike" kern="1200" cap="none" spc="-50" normalizeH="0" baseline="0" noProof="0" dirty="0">
                <a:ln>
                  <a:noFill/>
                </a:ln>
                <a:solidFill>
                  <a:srgbClr val="3D8FF0"/>
                </a:solidFill>
                <a:effectLst/>
                <a:uLnTx/>
                <a:uFill>
                  <a:solidFill>
                    <a:srgbClr val="3D8FF0"/>
                  </a:solidFill>
                </a:uFill>
                <a:latin typeface="Verdana"/>
                <a:ea typeface="+mn-ea"/>
                <a:cs typeface="Verdana"/>
                <a:hlinkClick r:id="rId4"/>
              </a:rPr>
              <a:t>p_NL_v1.pdf</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35"/>
              </a:spcBef>
              <a:spcAft>
                <a:spcPts val="0"/>
              </a:spcAft>
              <a:buClrTx/>
              <a:buSzTx/>
              <a:buFont typeface="Arial"/>
              <a:buChar char="•"/>
              <a:tabLst>
                <a:tab pos="283845" algn="l"/>
                <a:tab pos="284480" algn="l"/>
              </a:tabLst>
              <a:defRPr/>
            </a:pPr>
            <a:r>
              <a:rPr kumimoji="0" sz="1800" b="0" i="0" u="none" strike="noStrike" kern="1200" cap="none" spc="-40" normalizeH="0" baseline="0" noProof="0" dirty="0">
                <a:ln>
                  <a:noFill/>
                </a:ln>
                <a:solidFill>
                  <a:srgbClr val="FFFFFF"/>
                </a:solidFill>
                <a:effectLst/>
                <a:uLnTx/>
                <a:uFillTx/>
                <a:latin typeface="Verdana"/>
                <a:ea typeface="+mn-ea"/>
                <a:cs typeface="Verdana"/>
              </a:rPr>
              <a:t>Enterprise </a:t>
            </a:r>
            <a:r>
              <a:rPr kumimoji="0" sz="1800" b="0" i="0" u="none" strike="noStrike" kern="1200" cap="none" spc="-30" normalizeH="0" baseline="0" noProof="0" dirty="0">
                <a:ln>
                  <a:noFill/>
                </a:ln>
                <a:solidFill>
                  <a:srgbClr val="FFFFFF"/>
                </a:solidFill>
                <a:effectLst/>
                <a:uLnTx/>
                <a:uFillTx/>
                <a:latin typeface="Verdana"/>
                <a:ea typeface="+mn-ea"/>
                <a:cs typeface="Verdana"/>
              </a:rPr>
              <a:t>Singapore </a:t>
            </a:r>
            <a:r>
              <a:rPr kumimoji="0" sz="1800" b="0" i="0" u="none" strike="noStrike" kern="1200" cap="none" spc="-95" normalizeH="0" baseline="0" noProof="0" dirty="0">
                <a:ln>
                  <a:noFill/>
                </a:ln>
                <a:solidFill>
                  <a:srgbClr val="FFFFFF"/>
                </a:solidFill>
                <a:effectLst/>
                <a:uLnTx/>
                <a:uFillTx/>
                <a:latin typeface="Verdana"/>
                <a:ea typeface="+mn-ea"/>
                <a:cs typeface="Verdana"/>
              </a:rPr>
              <a:t>StartupSG:</a:t>
            </a:r>
            <a:r>
              <a:rPr kumimoji="0" sz="1800" b="0" i="0" u="none" strike="noStrike" kern="1200" cap="none" spc="-190" normalizeH="0" baseline="0" noProof="0" dirty="0">
                <a:ln>
                  <a:noFill/>
                </a:ln>
                <a:solidFill>
                  <a:srgbClr val="3D8FF0"/>
                </a:solidFill>
                <a:effectLst/>
                <a:uLnTx/>
                <a:uFillTx/>
                <a:latin typeface="Verdana"/>
                <a:ea typeface="+mn-ea"/>
                <a:cs typeface="Verdana"/>
              </a:rPr>
              <a:t> </a:t>
            </a:r>
            <a:r>
              <a:rPr kumimoji="0" sz="1800" b="0" i="0" u="sng" strike="noStrike" kern="1200" cap="none" spc="-80" normalizeH="0" baseline="0" noProof="0" dirty="0">
                <a:ln>
                  <a:noFill/>
                </a:ln>
                <a:solidFill>
                  <a:srgbClr val="3D8FF0"/>
                </a:solidFill>
                <a:effectLst/>
                <a:uLnTx/>
                <a:uFill>
                  <a:solidFill>
                    <a:srgbClr val="3D8FF0"/>
                  </a:solidFill>
                </a:uFill>
                <a:latin typeface="Verdana"/>
                <a:ea typeface="+mn-ea"/>
                <a:cs typeface="Verdana"/>
                <a:hlinkClick r:id="rId5"/>
              </a:rPr>
              <a:t>https://www.startupsg.gov.sg/</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694690" lvl="0" indent="-271780" algn="l" defTabSz="914400" rtl="0" eaLnBrk="1" fontAlgn="auto" latinLnBrk="0" hangingPunct="1">
              <a:lnSpc>
                <a:spcPct val="124400"/>
              </a:lnSpc>
              <a:spcBef>
                <a:spcPts val="1040"/>
              </a:spcBef>
              <a:spcAft>
                <a:spcPts val="0"/>
              </a:spcAft>
              <a:buClrTx/>
              <a:buSzTx/>
              <a:buFont typeface="Arial"/>
              <a:buChar char="•"/>
              <a:tabLst>
                <a:tab pos="283845" algn="l"/>
                <a:tab pos="284480" algn="l"/>
              </a:tabLst>
              <a:defRPr/>
            </a:pPr>
            <a:r>
              <a:rPr kumimoji="0" sz="1800" b="0" i="0" u="none" strike="noStrike" kern="1200" cap="none" spc="25" normalizeH="0" baseline="0" noProof="0" dirty="0">
                <a:ln>
                  <a:noFill/>
                </a:ln>
                <a:solidFill>
                  <a:srgbClr val="FFFFFF"/>
                </a:solidFill>
                <a:effectLst/>
                <a:uLnTx/>
                <a:uFillTx/>
                <a:latin typeface="Verdana"/>
                <a:ea typeface="+mn-ea"/>
                <a:cs typeface="Verdana"/>
                <a:hlinkClick r:id="rId6"/>
              </a:rPr>
              <a:t>ACE </a:t>
            </a:r>
            <a:r>
              <a:rPr kumimoji="0" sz="1800" b="0" i="0" u="none" strike="noStrike" kern="1200" cap="none" spc="-30" normalizeH="0" baseline="0" noProof="0" dirty="0">
                <a:ln>
                  <a:noFill/>
                </a:ln>
                <a:solidFill>
                  <a:srgbClr val="FFFFFF"/>
                </a:solidFill>
                <a:effectLst/>
                <a:uLnTx/>
                <a:uFillTx/>
                <a:latin typeface="Verdana"/>
                <a:ea typeface="+mn-ea"/>
                <a:cs typeface="Verdana"/>
                <a:hlinkClick r:id="rId6"/>
              </a:rPr>
              <a:t>Singapore </a:t>
            </a:r>
            <a:r>
              <a:rPr kumimoji="0" sz="1800" b="0" i="0" u="none" strike="noStrike" kern="1200" cap="none" spc="-80" normalizeH="0" baseline="0" noProof="0" dirty="0">
                <a:ln>
                  <a:noFill/>
                </a:ln>
                <a:solidFill>
                  <a:srgbClr val="FFFFFF"/>
                </a:solidFill>
                <a:effectLst/>
                <a:uLnTx/>
                <a:uFillTx/>
                <a:latin typeface="Verdana"/>
                <a:ea typeface="+mn-ea"/>
                <a:cs typeface="Verdana"/>
                <a:hlinkClick r:id="rId6"/>
              </a:rPr>
              <a:t>Startup Ecosystem:</a:t>
            </a:r>
            <a:r>
              <a:rPr kumimoji="0" sz="1800" b="0" i="0" u="none" strike="noStrike" kern="1200" cap="none" spc="-80" normalizeH="0" baseline="0" noProof="0" dirty="0">
                <a:ln>
                  <a:noFill/>
                </a:ln>
                <a:solidFill>
                  <a:srgbClr val="3D8FF0"/>
                </a:solidFill>
                <a:effectLst/>
                <a:uLnTx/>
                <a:uFillTx/>
                <a:latin typeface="Verdana"/>
                <a:ea typeface="+mn-ea"/>
                <a:cs typeface="Verdana"/>
                <a:hlinkClick r:id="rId6"/>
              </a:rPr>
              <a:t> </a:t>
            </a:r>
            <a:r>
              <a:rPr kumimoji="0" sz="1800" b="0" i="0" u="sng" strike="noStrike" kern="1200" cap="none" spc="-60" normalizeH="0" baseline="0" noProof="0" dirty="0">
                <a:ln>
                  <a:noFill/>
                </a:ln>
                <a:solidFill>
                  <a:srgbClr val="3D8FF0"/>
                </a:solidFill>
                <a:effectLst/>
                <a:uLnTx/>
                <a:uFill>
                  <a:solidFill>
                    <a:srgbClr val="3D8FF0"/>
                  </a:solidFill>
                </a:uFill>
                <a:latin typeface="Verdana"/>
                <a:ea typeface="+mn-ea"/>
                <a:cs typeface="Verdana"/>
                <a:hlinkClick r:id="rId6"/>
              </a:rPr>
              <a:t>https://ace.org.sg/singapore-startup-  </a:t>
            </a:r>
            <a:r>
              <a:rPr kumimoji="0" sz="1800" b="0" i="0" u="sng" strike="noStrike" kern="1200" cap="none" spc="-70" normalizeH="0" baseline="0" noProof="0" dirty="0">
                <a:ln>
                  <a:noFill/>
                </a:ln>
                <a:solidFill>
                  <a:srgbClr val="3D8FF0"/>
                </a:solidFill>
                <a:effectLst/>
                <a:uLnTx/>
                <a:uFill>
                  <a:solidFill>
                    <a:srgbClr val="3D8FF0"/>
                  </a:solidFill>
                </a:uFill>
                <a:latin typeface="Verdana"/>
                <a:ea typeface="+mn-ea"/>
                <a:cs typeface="Verdana"/>
                <a:hlinkClick r:id="rId6"/>
              </a:rPr>
              <a:t>ecosystem-an-overview/</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271780" algn="l" defTabSz="914400" rtl="0" eaLnBrk="1" fontAlgn="auto" latinLnBrk="0" hangingPunct="1">
              <a:lnSpc>
                <a:spcPct val="100000"/>
              </a:lnSpc>
              <a:spcBef>
                <a:spcPts val="1535"/>
              </a:spcBef>
              <a:spcAft>
                <a:spcPts val="0"/>
              </a:spcAft>
              <a:buClr>
                <a:srgbClr val="FFFFFF"/>
              </a:buClr>
              <a:buSzTx/>
              <a:buFont typeface="Arial"/>
              <a:buChar char="•"/>
              <a:tabLst>
                <a:tab pos="283845" algn="l"/>
                <a:tab pos="284480" algn="l"/>
              </a:tabLst>
              <a:defRPr/>
            </a:pPr>
            <a:r>
              <a:rPr kumimoji="0" sz="1800" b="0" i="0" u="sng" strike="noStrike" kern="1200" cap="none" spc="-50" normalizeH="0" baseline="0" noProof="0" dirty="0">
                <a:ln>
                  <a:noFill/>
                </a:ln>
                <a:solidFill>
                  <a:srgbClr val="3D8FF0"/>
                </a:solidFill>
                <a:effectLst/>
                <a:uLnTx/>
                <a:uFill>
                  <a:solidFill>
                    <a:srgbClr val="3D8FF0"/>
                  </a:solidFill>
                </a:uFill>
                <a:latin typeface="Verdana"/>
                <a:ea typeface="+mn-ea"/>
                <a:cs typeface="Verdana"/>
                <a:hlinkClick r:id="rId7"/>
              </a:rPr>
              <a:t>https://www.russellbedford.com/latest/news/singapore-retains-second-place-</a:t>
            </a:r>
            <a:endParaRPr kumimoji="0" sz="1800" b="0" i="0" u="none" strike="noStrike" kern="1200" cap="none" spc="0" normalizeH="0" baseline="0" noProof="0">
              <a:ln>
                <a:noFill/>
              </a:ln>
              <a:solidFill>
                <a:prstClr val="black"/>
              </a:solidFill>
              <a:effectLst/>
              <a:uLnTx/>
              <a:uFillTx/>
              <a:latin typeface="Verdana"/>
              <a:ea typeface="+mn-ea"/>
              <a:cs typeface="Verdana"/>
            </a:endParaRPr>
          </a:p>
          <a:p>
            <a:pPr marL="283845" marR="0" lvl="0" indent="0" algn="l" defTabSz="914400" rtl="0" eaLnBrk="1" fontAlgn="auto" latinLnBrk="0" hangingPunct="1">
              <a:lnSpc>
                <a:spcPct val="100000"/>
              </a:lnSpc>
              <a:spcBef>
                <a:spcPts val="555"/>
              </a:spcBef>
              <a:spcAft>
                <a:spcPts val="0"/>
              </a:spcAft>
              <a:buClrTx/>
              <a:buSzTx/>
              <a:buFontTx/>
              <a:buNone/>
              <a:tabLst/>
              <a:defRPr/>
            </a:pPr>
            <a:r>
              <a:rPr kumimoji="0" sz="1800" b="0" i="0" u="sng" strike="noStrike" kern="1200" cap="none" spc="-55" normalizeH="0" baseline="0" noProof="0" dirty="0">
                <a:ln>
                  <a:noFill/>
                </a:ln>
                <a:solidFill>
                  <a:srgbClr val="3D8FF0"/>
                </a:solidFill>
                <a:effectLst/>
                <a:uLnTx/>
                <a:uFill>
                  <a:solidFill>
                    <a:srgbClr val="3D8FF0"/>
                  </a:solidFill>
                </a:uFill>
                <a:latin typeface="Verdana"/>
                <a:ea typeface="+mn-ea"/>
                <a:cs typeface="Verdana"/>
                <a:hlinkClick r:id="rId7"/>
              </a:rPr>
              <a:t>in-2019-world-bank-doing-business-report-ranking/</a:t>
            </a:r>
            <a:endParaRPr kumimoji="0" sz="1800" b="0" i="0" u="none" strike="noStrike" kern="1200" cap="none" spc="0" normalizeH="0" baseline="0" noProof="0">
              <a:ln>
                <a:noFill/>
              </a:ln>
              <a:solidFill>
                <a:prstClr val="black"/>
              </a:solidFill>
              <a:effectLst/>
              <a:uLnTx/>
              <a:uFillTx/>
              <a:latin typeface="Verdana"/>
              <a:ea typeface="+mn-ea"/>
              <a:cs typeface="Verdana"/>
            </a:endParaRPr>
          </a:p>
        </p:txBody>
      </p:sp>
      <p:sp>
        <p:nvSpPr>
          <p:cNvPr id="5" name="object 5"/>
          <p:cNvSpPr txBox="1"/>
          <p:nvPr/>
        </p:nvSpPr>
        <p:spPr>
          <a:xfrm>
            <a:off x="10733023" y="6551337"/>
            <a:ext cx="1327150" cy="210820"/>
          </a:xfrm>
          <a:prstGeom prst="rect">
            <a:avLst/>
          </a:prstGeom>
        </p:spPr>
        <p:txBody>
          <a:bodyPr vert="horz" wrap="square" lIns="0" tIns="6985" rIns="0" bIns="0" rtlCol="0">
            <a:spAutoFit/>
          </a:bodyPr>
          <a:lstStyle/>
          <a:p>
            <a:pPr marL="12700" marR="0" lvl="0" indent="0" algn="l" defTabSz="914400" rtl="0" eaLnBrk="1" fontAlgn="auto" latinLnBrk="0" hangingPunct="1">
              <a:lnSpc>
                <a:spcPct val="100000"/>
              </a:lnSpc>
              <a:spcBef>
                <a:spcPts val="55"/>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210050" y="1579321"/>
            <a:ext cx="3790950" cy="757555"/>
          </a:xfrm>
          <a:prstGeom prst="rect">
            <a:avLst/>
          </a:prstGeom>
        </p:spPr>
        <p:txBody>
          <a:bodyPr vert="horz" wrap="square" lIns="0" tIns="12700" rIns="0" bIns="0" rtlCol="0">
            <a:spAutoFit/>
          </a:bodyPr>
          <a:lstStyle/>
          <a:p>
            <a:pPr marL="12700">
              <a:lnSpc>
                <a:spcPct val="100000"/>
              </a:lnSpc>
              <a:spcBef>
                <a:spcPts val="100"/>
              </a:spcBef>
            </a:pPr>
            <a:r>
              <a:rPr sz="4800" spc="315" dirty="0"/>
              <a:t>Questions?</a:t>
            </a:r>
            <a:endParaRPr sz="4800"/>
          </a:p>
        </p:txBody>
      </p:sp>
      <p:sp>
        <p:nvSpPr>
          <p:cNvPr id="3" name="object 3"/>
          <p:cNvSpPr/>
          <p:nvPr/>
        </p:nvSpPr>
        <p:spPr>
          <a:xfrm>
            <a:off x="466344" y="932688"/>
            <a:ext cx="11074400" cy="0"/>
          </a:xfrm>
          <a:custGeom>
            <a:avLst/>
            <a:gdLst/>
            <a:ahLst/>
            <a:cxnLst/>
            <a:rect l="l" t="t" r="r" b="b"/>
            <a:pathLst>
              <a:path w="11074400">
                <a:moveTo>
                  <a:pt x="0" y="0"/>
                </a:moveTo>
                <a:lnTo>
                  <a:pt x="11074400" y="0"/>
                </a:lnTo>
              </a:path>
            </a:pathLst>
          </a:custGeom>
          <a:ln w="6350">
            <a:solidFill>
              <a:srgbClr val="00B9C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3685032" y="2484120"/>
            <a:ext cx="4919471" cy="327660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txBox="1"/>
          <p:nvPr/>
        </p:nvSpPr>
        <p:spPr>
          <a:xfrm>
            <a:off x="6471284" y="5894628"/>
            <a:ext cx="2148205" cy="238125"/>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sz="1400" b="0" i="0" u="none" strike="noStrike" kern="1200" cap="none" spc="-80" normalizeH="0" baseline="0" noProof="0" dirty="0">
                <a:ln>
                  <a:noFill/>
                </a:ln>
                <a:solidFill>
                  <a:srgbClr val="FFFFFF"/>
                </a:solidFill>
                <a:effectLst/>
                <a:uLnTx/>
                <a:uFillTx/>
                <a:latin typeface="Verdana"/>
                <a:ea typeface="+mn-ea"/>
                <a:cs typeface="Verdana"/>
                <a:hlinkClick r:id="rId3"/>
              </a:rPr>
              <a:t>paulinericatay@gmail.com</a:t>
            </a:r>
            <a:endParaRPr kumimoji="0" sz="1400" b="0" i="0" u="none" strike="noStrike" kern="1200" cap="none" spc="0" normalizeH="0" baseline="0" noProof="0">
              <a:ln>
                <a:noFill/>
              </a:ln>
              <a:solidFill>
                <a:prstClr val="black"/>
              </a:solidFill>
              <a:effectLst/>
              <a:uLnTx/>
              <a:uFillTx/>
              <a:latin typeface="Verdana"/>
              <a:ea typeface="+mn-ea"/>
              <a:cs typeface="Verdana"/>
            </a:endParaRPr>
          </a:p>
        </p:txBody>
      </p:sp>
      <p:sp>
        <p:nvSpPr>
          <p:cNvPr id="6" name="object 6"/>
          <p:cNvSpPr txBox="1"/>
          <p:nvPr/>
        </p:nvSpPr>
        <p:spPr>
          <a:xfrm>
            <a:off x="10733023" y="6551337"/>
            <a:ext cx="1327150" cy="210820"/>
          </a:xfrm>
          <a:prstGeom prst="rect">
            <a:avLst/>
          </a:prstGeom>
        </p:spPr>
        <p:txBody>
          <a:bodyPr vert="horz" wrap="square" lIns="0" tIns="6985" rIns="0" bIns="0" rtlCol="0">
            <a:spAutoFit/>
          </a:bodyPr>
          <a:lstStyle/>
          <a:p>
            <a:pPr marL="12700" marR="0" lvl="0" indent="0" algn="l" defTabSz="914400" rtl="0" eaLnBrk="1" fontAlgn="auto" latinLnBrk="0" hangingPunct="1">
              <a:lnSpc>
                <a:spcPct val="100000"/>
              </a:lnSpc>
              <a:spcBef>
                <a:spcPts val="55"/>
              </a:spcBef>
              <a:spcAft>
                <a:spcPts val="0"/>
              </a:spcAft>
              <a:buClrTx/>
              <a:buSzTx/>
              <a:buFontTx/>
              <a:buNone/>
              <a:tabLst/>
              <a:defRPr/>
            </a:pPr>
            <a:r>
              <a:rPr kumimoji="0" sz="1200" b="0" i="0" u="none" strike="noStrike" kern="1200" cap="none" spc="-245" normalizeH="0" baseline="0" noProof="0" dirty="0">
                <a:ln>
                  <a:noFill/>
                </a:ln>
                <a:solidFill>
                  <a:srgbClr val="FFFFFF"/>
                </a:solidFill>
                <a:effectLst/>
                <a:uLnTx/>
                <a:uFillTx/>
                <a:latin typeface="Verdana"/>
                <a:ea typeface="+mn-ea"/>
                <a:cs typeface="Verdana"/>
              </a:rPr>
              <a:t>© </a:t>
            </a:r>
            <a:r>
              <a:rPr kumimoji="0" sz="1200" b="0" i="0" u="none" strike="noStrike" kern="1200" cap="none" spc="-55" normalizeH="0" baseline="0" noProof="0" dirty="0">
                <a:ln>
                  <a:noFill/>
                </a:ln>
                <a:solidFill>
                  <a:srgbClr val="FFFFFF"/>
                </a:solidFill>
                <a:effectLst/>
                <a:uLnTx/>
                <a:uFillTx/>
                <a:latin typeface="Verdana"/>
                <a:ea typeface="+mn-ea"/>
                <a:cs typeface="Verdana"/>
              </a:rPr>
              <a:t>Pauline </a:t>
            </a:r>
            <a:r>
              <a:rPr kumimoji="0" sz="1200" b="0" i="0" u="none" strike="noStrike" kern="1200" cap="none" spc="-50" normalizeH="0" baseline="0" noProof="0" dirty="0">
                <a:ln>
                  <a:noFill/>
                </a:ln>
                <a:solidFill>
                  <a:srgbClr val="FFFFFF"/>
                </a:solidFill>
                <a:effectLst/>
                <a:uLnTx/>
                <a:uFillTx/>
                <a:latin typeface="Verdana"/>
                <a:ea typeface="+mn-ea"/>
                <a:cs typeface="Verdana"/>
              </a:rPr>
              <a:t>Erica</a:t>
            </a:r>
            <a:r>
              <a:rPr kumimoji="0" sz="1200" b="0" i="0" u="none" strike="noStrike" kern="1200" cap="none" spc="-215" normalizeH="0" baseline="0" noProof="0" dirty="0">
                <a:ln>
                  <a:noFill/>
                </a:ln>
                <a:solidFill>
                  <a:srgbClr val="FFFFFF"/>
                </a:solidFill>
                <a:effectLst/>
                <a:uLnTx/>
                <a:uFillTx/>
                <a:latin typeface="Verdana"/>
                <a:ea typeface="+mn-ea"/>
                <a:cs typeface="Verdana"/>
              </a:rPr>
              <a:t> </a:t>
            </a:r>
            <a:r>
              <a:rPr kumimoji="0" sz="1200" b="0" i="0" u="none" strike="noStrike" kern="1200" cap="none" spc="-135" normalizeH="0" baseline="0" noProof="0" dirty="0">
                <a:ln>
                  <a:noFill/>
                </a:ln>
                <a:solidFill>
                  <a:srgbClr val="FFFFFF"/>
                </a:solidFill>
                <a:effectLst/>
                <a:uLnTx/>
                <a:uFillTx/>
                <a:latin typeface="Verdana"/>
                <a:ea typeface="+mn-ea"/>
                <a:cs typeface="Verdana"/>
              </a:rPr>
              <a:t>Tay</a:t>
            </a:r>
            <a:endParaRPr kumimoji="0" sz="1200" b="0" i="0" u="none" strike="noStrike" kern="1200" cap="none" spc="0" normalizeH="0" baseline="0" noProof="0">
              <a:ln>
                <a:noFill/>
              </a:ln>
              <a:solidFill>
                <a:prstClr val="black"/>
              </a:solidFill>
              <a:effectLst/>
              <a:uLnTx/>
              <a:uFillTx/>
              <a:latin typeface="Verdana"/>
              <a:ea typeface="+mn-ea"/>
              <a:cs typeface="Verdana"/>
            </a:endParaRPr>
          </a:p>
        </p:txBody>
      </p:sp>
    </p:spTree>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nl-NL"/>
          </a:p>
        </p:txBody>
      </p:sp>
      <p:pic>
        <p:nvPicPr>
          <p:cNvPr id="4" name="Afbeelding 3"/>
          <p:cNvPicPr>
            <a:picLocks noChangeAspect="1"/>
          </p:cNvPicPr>
          <p:nvPr/>
        </p:nvPicPr>
        <p:blipFill rotWithShape="1">
          <a:blip r:embed="rId2" cstate="print">
            <a:extLst>
              <a:ext uri="{28A0092B-C50C-407E-A947-70E740481C1C}">
                <a14:useLocalDpi xmlns:a14="http://schemas.microsoft.com/office/drawing/2010/main" val="0"/>
              </a:ext>
            </a:extLst>
          </a:blip>
          <a:srcRect r="50509" b="74431"/>
          <a:stretch/>
        </p:blipFill>
        <p:spPr>
          <a:xfrm>
            <a:off x="0" y="-240"/>
            <a:ext cx="6261463" cy="1272359"/>
          </a:xfrm>
          <a:prstGeom prst="rect">
            <a:avLst/>
          </a:prstGeom>
        </p:spPr>
      </p:pic>
      <p:sp>
        <p:nvSpPr>
          <p:cNvPr id="5" name="Rechthoek 4"/>
          <p:cNvSpPr/>
          <p:nvPr/>
        </p:nvSpPr>
        <p:spPr>
          <a:xfrm>
            <a:off x="6113417" y="-242"/>
            <a:ext cx="6113883" cy="1541660"/>
          </a:xfrm>
          <a:prstGeom prst="rect">
            <a:avLst/>
          </a:prstGeom>
          <a:solidFill>
            <a:srgbClr val="F7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kstvak 6"/>
          <p:cNvSpPr txBox="1"/>
          <p:nvPr/>
        </p:nvSpPr>
        <p:spPr>
          <a:xfrm>
            <a:off x="0" y="1250954"/>
            <a:ext cx="12227300" cy="580928"/>
          </a:xfrm>
          <a:prstGeom prst="rect">
            <a:avLst/>
          </a:prstGeom>
          <a:solidFill>
            <a:srgbClr val="820000"/>
          </a:solidFill>
          <a:ln w="76200">
            <a:noFill/>
          </a:ln>
        </p:spPr>
        <p:txBody>
          <a:bodyPr wrap="square" rtlCol="0">
            <a:spAutoFit/>
          </a:bodyPr>
          <a:lstStyle/>
          <a:p>
            <a:pPr marL="0" marR="0" lvl="0" indent="0" algn="ctr" defTabSz="914400" rtl="0" eaLnBrk="1" fontAlgn="auto" latinLnBrk="0" hangingPunct="1">
              <a:lnSpc>
                <a:spcPct val="120000"/>
              </a:lnSpc>
              <a:spcBef>
                <a:spcPts val="300"/>
              </a:spcBef>
              <a:spcAft>
                <a:spcPts val="60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Garamond" panose="02020404030301010803" pitchFamily="18" charset="0"/>
              <a:ea typeface="+mn-ea"/>
              <a:cs typeface="+mn-cs"/>
            </a:endParaRPr>
          </a:p>
        </p:txBody>
      </p:sp>
      <p:sp>
        <p:nvSpPr>
          <p:cNvPr id="8" name="Rechthoek 7"/>
          <p:cNvSpPr/>
          <p:nvPr/>
        </p:nvSpPr>
        <p:spPr>
          <a:xfrm>
            <a:off x="0" y="6762201"/>
            <a:ext cx="12192000" cy="104508"/>
          </a:xfrm>
          <a:prstGeom prst="rect">
            <a:avLst/>
          </a:prstGeom>
          <a:solidFill>
            <a:srgbClr val="820000"/>
          </a:solidFill>
          <a:ln>
            <a:solidFill>
              <a:srgbClr val="8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7" name="Afbeelding 16"/>
          <p:cNvPicPr>
            <a:picLocks noChangeAspect="1"/>
          </p:cNvPicPr>
          <p:nvPr/>
        </p:nvPicPr>
        <p:blipFill rotWithShape="1">
          <a:blip r:embed="rId3">
            <a:extLst>
              <a:ext uri="{28A0092B-C50C-407E-A947-70E740481C1C}">
                <a14:useLocalDpi xmlns:a14="http://schemas.microsoft.com/office/drawing/2010/main" val="0"/>
              </a:ext>
            </a:extLst>
          </a:blip>
          <a:srcRect l="28128" t="10859" r="29179" b="42807"/>
          <a:stretch/>
        </p:blipFill>
        <p:spPr>
          <a:xfrm>
            <a:off x="-1" y="6298562"/>
            <a:ext cx="1549269" cy="463639"/>
          </a:xfrm>
          <a:prstGeom prst="rect">
            <a:avLst/>
          </a:prstGeom>
        </p:spPr>
      </p:pic>
      <p:sp>
        <p:nvSpPr>
          <p:cNvPr id="10" name="Titel 1">
            <a:extLst>
              <a:ext uri="{FF2B5EF4-FFF2-40B4-BE49-F238E27FC236}">
                <a16:creationId xmlns:a16="http://schemas.microsoft.com/office/drawing/2014/main" id="{6DAA1982-755C-4897-B83D-619215647D02}"/>
              </a:ext>
            </a:extLst>
          </p:cNvPr>
          <p:cNvSpPr txBox="1">
            <a:spLocks/>
          </p:cNvSpPr>
          <p:nvPr/>
        </p:nvSpPr>
        <p:spPr>
          <a:xfrm>
            <a:off x="1700443" y="2443890"/>
            <a:ext cx="8825948" cy="3790587"/>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1800"/>
              </a:spcAft>
            </a:pPr>
            <a:br>
              <a:rPr lang="nl-NL" sz="3600" dirty="0">
                <a:latin typeface="Garamond" panose="02020404030301010803" pitchFamily="18" charset="0"/>
              </a:rPr>
            </a:br>
            <a:r>
              <a:rPr lang="nl-NL" sz="6500" b="1" dirty="0" err="1">
                <a:solidFill>
                  <a:srgbClr val="820000"/>
                </a:solidFill>
                <a:latin typeface="Garamond" panose="02020404030301010803" pitchFamily="18" charset="0"/>
              </a:rPr>
              <a:t>Thank</a:t>
            </a:r>
            <a:r>
              <a:rPr lang="nl-NL" sz="6500" b="1" dirty="0">
                <a:solidFill>
                  <a:srgbClr val="820000"/>
                </a:solidFill>
                <a:latin typeface="Garamond" panose="02020404030301010803" pitchFamily="18" charset="0"/>
              </a:rPr>
              <a:t> </a:t>
            </a:r>
            <a:r>
              <a:rPr lang="nl-NL" sz="6500" b="1" dirty="0" err="1">
                <a:solidFill>
                  <a:srgbClr val="820000"/>
                </a:solidFill>
                <a:latin typeface="Garamond" panose="02020404030301010803" pitchFamily="18" charset="0"/>
              </a:rPr>
              <a:t>you</a:t>
            </a:r>
            <a:endParaRPr lang="nl-NL" sz="3600" b="1" dirty="0">
              <a:solidFill>
                <a:srgbClr val="820000"/>
              </a:solidFill>
              <a:latin typeface="Garamond" panose="02020404030301010803" pitchFamily="18" charset="0"/>
            </a:endParaRPr>
          </a:p>
          <a:p>
            <a:pPr algn="ctr">
              <a:spcAft>
                <a:spcPts val="1800"/>
              </a:spcAft>
            </a:pPr>
            <a:endParaRPr lang="nl-NL" sz="6500" b="1" dirty="0">
              <a:solidFill>
                <a:srgbClr val="820000"/>
              </a:solidFill>
              <a:latin typeface="Garamond" panose="02020404030301010803" pitchFamily="18" charset="0"/>
            </a:endParaRPr>
          </a:p>
        </p:txBody>
      </p:sp>
      <p:sp>
        <p:nvSpPr>
          <p:cNvPr id="12" name="Tekstvak 14">
            <a:extLst>
              <a:ext uri="{FF2B5EF4-FFF2-40B4-BE49-F238E27FC236}">
                <a16:creationId xmlns:a16="http://schemas.microsoft.com/office/drawing/2014/main" id="{C38E7DD1-D9CD-47CA-A8DD-E0460029BF1C}"/>
              </a:ext>
            </a:extLst>
          </p:cNvPr>
          <p:cNvSpPr txBox="1"/>
          <p:nvPr/>
        </p:nvSpPr>
        <p:spPr>
          <a:xfrm>
            <a:off x="9620834" y="6234477"/>
            <a:ext cx="2478275" cy="461665"/>
          </a:xfrm>
          <a:prstGeom prst="rect">
            <a:avLst/>
          </a:prstGeom>
          <a:noFill/>
        </p:spPr>
        <p:txBody>
          <a:bodyPr wrap="square" rtlCol="0">
            <a:spAutoFit/>
          </a:bodyPr>
          <a:lstStyle/>
          <a:p>
            <a:pPr algn="r"/>
            <a:r>
              <a:rPr lang="nl-NL" sz="2400" b="1" dirty="0">
                <a:latin typeface="Garamond" panose="02020404030301010803" pitchFamily="18" charset="0"/>
              </a:rPr>
              <a:t>#IOS21</a:t>
            </a:r>
          </a:p>
        </p:txBody>
      </p:sp>
      <p:sp>
        <p:nvSpPr>
          <p:cNvPr id="13" name="Tekstvak 5">
            <a:extLst>
              <a:ext uri="{FF2B5EF4-FFF2-40B4-BE49-F238E27FC236}">
                <a16:creationId xmlns:a16="http://schemas.microsoft.com/office/drawing/2014/main" id="{30182973-CCC1-4A3F-8D83-30B396AE4AEB}"/>
              </a:ext>
            </a:extLst>
          </p:cNvPr>
          <p:cNvSpPr txBox="1">
            <a:spLocks/>
          </p:cNvSpPr>
          <p:nvPr/>
        </p:nvSpPr>
        <p:spPr>
          <a:xfrm>
            <a:off x="4428309" y="-19281"/>
            <a:ext cx="7670800" cy="1077218"/>
          </a:xfrm>
          <a:prstGeom prst="rect">
            <a:avLst/>
          </a:prstGeom>
          <a:noFill/>
        </p:spPr>
        <p:txBody>
          <a:bodyPr wrap="square" rtlCol="0">
            <a:spAutoFit/>
          </a:bodyPr>
          <a:lstStyle/>
          <a:p>
            <a:pPr lvl="0" algn="r"/>
            <a:r>
              <a:rPr lang="en-US" sz="2400" dirty="0">
                <a:solidFill>
                  <a:srgbClr val="820000"/>
                </a:solidFill>
                <a:latin typeface="Garamond" panose="02020404030301010803" pitchFamily="18" charset="0"/>
              </a:rPr>
              <a:t>Impact of Science   </a:t>
            </a:r>
          </a:p>
          <a:p>
            <a:pPr lvl="0" algn="r"/>
            <a:r>
              <a:rPr lang="en-US" sz="2000" dirty="0">
                <a:solidFill>
                  <a:prstClr val="black"/>
                </a:solidFill>
                <a:latin typeface="Garamond" panose="02020404030301010803" pitchFamily="18" charset="0"/>
              </a:rPr>
              <a:t>23-25 June, 2021</a:t>
            </a:r>
          </a:p>
          <a:p>
            <a:pPr lvl="0" algn="r"/>
            <a:endParaRPr lang="en-US" sz="2000" dirty="0">
              <a:solidFill>
                <a:prstClr val="black"/>
              </a:solidFill>
              <a:latin typeface="Garamond" panose="02020404030301010803" pitchFamily="18" charset="0"/>
            </a:endParaRPr>
          </a:p>
        </p:txBody>
      </p:sp>
    </p:spTree>
    <p:extLst>
      <p:ext uri="{BB962C8B-B14F-4D97-AF65-F5344CB8AC3E}">
        <p14:creationId xmlns:p14="http://schemas.microsoft.com/office/powerpoint/2010/main" val="4026446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4A42216-92A6-47D1-B56A-0DE71573632E}"/>
              </a:ext>
            </a:extLst>
          </p:cNvPr>
          <p:cNvSpPr>
            <a:spLocks noGrp="1"/>
          </p:cNvSpPr>
          <p:nvPr>
            <p:ph type="title"/>
          </p:nvPr>
        </p:nvSpPr>
        <p:spPr>
          <a:xfrm>
            <a:off x="1288876" y="1120268"/>
            <a:ext cx="10515600" cy="712788"/>
          </a:xfrm>
        </p:spPr>
        <p:txBody>
          <a:bodyPr/>
          <a:lstStyle/>
          <a:p>
            <a:r>
              <a:rPr lang="en-GB" sz="3200" dirty="0">
                <a:solidFill>
                  <a:srgbClr val="469BC0"/>
                </a:solidFill>
              </a:rPr>
              <a:t>Mission, measuring, impact</a:t>
            </a:r>
            <a:endParaRPr lang="nl-NL" sz="3200" dirty="0">
              <a:solidFill>
                <a:srgbClr val="469BC0"/>
              </a:solidFill>
            </a:endParaRPr>
          </a:p>
        </p:txBody>
      </p:sp>
      <p:sp>
        <p:nvSpPr>
          <p:cNvPr id="12" name="Content Placeholder 11">
            <a:extLst>
              <a:ext uri="{FF2B5EF4-FFF2-40B4-BE49-F238E27FC236}">
                <a16:creationId xmlns:a16="http://schemas.microsoft.com/office/drawing/2014/main" id="{DED8CA7A-D932-4F42-B01D-4C1884BCCEC5}"/>
              </a:ext>
            </a:extLst>
          </p:cNvPr>
          <p:cNvSpPr>
            <a:spLocks noGrp="1"/>
          </p:cNvSpPr>
          <p:nvPr>
            <p:ph sz="half" idx="2"/>
          </p:nvPr>
        </p:nvSpPr>
        <p:spPr>
          <a:xfrm>
            <a:off x="6494067" y="1833056"/>
            <a:ext cx="4830417" cy="4163346"/>
          </a:xfrm>
        </p:spPr>
        <p:txBody>
          <a:bodyPr/>
          <a:lstStyle/>
          <a:p>
            <a:pPr marL="0" indent="0">
              <a:buNone/>
            </a:pPr>
            <a:r>
              <a:rPr lang="en-GB" sz="2400" b="1" dirty="0">
                <a:latin typeface="Frutiger LT Std 55 Roman"/>
              </a:rPr>
              <a:t>What we had and did</a:t>
            </a:r>
          </a:p>
          <a:p>
            <a:r>
              <a:rPr lang="en-GB" sz="2000" dirty="0">
                <a:latin typeface="Frutiger LT Std 55 Roman"/>
              </a:rPr>
              <a:t>Communication department responsible for media content and contact</a:t>
            </a:r>
          </a:p>
          <a:p>
            <a:r>
              <a:rPr lang="en-GB" sz="2000" dirty="0">
                <a:latin typeface="Frutiger LT Std 55 Roman"/>
              </a:rPr>
              <a:t>Link impact to mission</a:t>
            </a:r>
          </a:p>
          <a:p>
            <a:r>
              <a:rPr lang="en-GB" sz="2000" dirty="0">
                <a:latin typeface="Frutiger LT Std 55 Roman"/>
              </a:rPr>
              <a:t>Liaison officer for parliament</a:t>
            </a:r>
          </a:p>
          <a:p>
            <a:r>
              <a:rPr lang="en-GB" sz="2000" dirty="0">
                <a:latin typeface="Frutiger LT Std 55 Roman"/>
              </a:rPr>
              <a:t>Improve dedicated publications for parliament </a:t>
            </a:r>
          </a:p>
          <a:p>
            <a:r>
              <a:rPr lang="en-GB" sz="2000" dirty="0">
                <a:latin typeface="Frutiger LT Std 55 Roman"/>
              </a:rPr>
              <a:t>Focus: from 12 to 5 to 3 themes </a:t>
            </a:r>
          </a:p>
          <a:p>
            <a:r>
              <a:rPr lang="en-GB" sz="2000" dirty="0">
                <a:latin typeface="Frutiger LT Std 55 Roman"/>
              </a:rPr>
              <a:t>Monitoring direct results</a:t>
            </a:r>
          </a:p>
          <a:p>
            <a:r>
              <a:rPr lang="en-GB" sz="2000" dirty="0">
                <a:latin typeface="Frutiger LT Std 55 Roman"/>
              </a:rPr>
              <a:t>Create narratives for annual reports and evaluation on long term impacts</a:t>
            </a:r>
          </a:p>
          <a:p>
            <a:pPr marL="0" indent="0">
              <a:buNone/>
            </a:pPr>
            <a:endParaRPr lang="nl-NL" sz="2000" dirty="0"/>
          </a:p>
        </p:txBody>
      </p:sp>
      <p:sp>
        <p:nvSpPr>
          <p:cNvPr id="14" name="Content Placeholder 13">
            <a:extLst>
              <a:ext uri="{FF2B5EF4-FFF2-40B4-BE49-F238E27FC236}">
                <a16:creationId xmlns:a16="http://schemas.microsoft.com/office/drawing/2014/main" id="{BA030985-02BA-46CD-B6B7-75494159A8EE}"/>
              </a:ext>
            </a:extLst>
          </p:cNvPr>
          <p:cNvSpPr>
            <a:spLocks noGrp="1"/>
          </p:cNvSpPr>
          <p:nvPr>
            <p:ph sz="half" idx="1"/>
          </p:nvPr>
        </p:nvSpPr>
        <p:spPr>
          <a:xfrm>
            <a:off x="1265583" y="1833056"/>
            <a:ext cx="5089939" cy="4163346"/>
          </a:xfrm>
        </p:spPr>
        <p:txBody>
          <a:bodyPr/>
          <a:lstStyle/>
          <a:p>
            <a:pPr marL="0" indent="0">
              <a:buNone/>
            </a:pPr>
            <a:r>
              <a:rPr lang="en-GB" sz="2000" b="1" dirty="0"/>
              <a:t>Rathenau Institute The Hague</a:t>
            </a:r>
          </a:p>
          <a:p>
            <a:pPr marL="0" indent="0" defTabSz="541338">
              <a:buNone/>
            </a:pPr>
            <a:r>
              <a:rPr lang="en-GB" sz="2000" b="1" dirty="0"/>
              <a:t>Mission	</a:t>
            </a:r>
            <a:r>
              <a:rPr lang="en-GB" sz="2000" dirty="0"/>
              <a:t>Policy and debate on 					science, technology and society</a:t>
            </a:r>
          </a:p>
          <a:p>
            <a:pPr marL="0" indent="0">
              <a:buNone/>
            </a:pPr>
            <a:r>
              <a:rPr lang="en-GB" sz="2000" b="1" dirty="0">
                <a:latin typeface="Frutiger LT Std 55 Roman"/>
              </a:rPr>
              <a:t>Challenge</a:t>
            </a:r>
          </a:p>
          <a:p>
            <a:r>
              <a:rPr lang="en-GB" sz="2000" dirty="0">
                <a:latin typeface="Frutiger LT Std 55 Roman"/>
              </a:rPr>
              <a:t>Many activities, publications</a:t>
            </a:r>
          </a:p>
          <a:p>
            <a:r>
              <a:rPr lang="en-GB" sz="2000" dirty="0">
                <a:latin typeface="Frutiger LT Std 55 Roman"/>
              </a:rPr>
              <a:t>Political debate issue oriented</a:t>
            </a:r>
          </a:p>
          <a:p>
            <a:r>
              <a:rPr lang="en-GB" sz="2000" dirty="0">
                <a:latin typeface="Frutiger LT Std 55 Roman"/>
              </a:rPr>
              <a:t>No control on political arena </a:t>
            </a:r>
          </a:p>
          <a:p>
            <a:r>
              <a:rPr lang="en-GB" sz="2000" dirty="0">
                <a:latin typeface="Frutiger LT Std 55 Roman"/>
              </a:rPr>
              <a:t>Wide range of outcomes and impacts</a:t>
            </a:r>
          </a:p>
          <a:p>
            <a:r>
              <a:rPr lang="en-GB" sz="2000" dirty="0">
                <a:latin typeface="Frutiger LT Std 55 Roman"/>
              </a:rPr>
              <a:t>Difficult to trace</a:t>
            </a:r>
          </a:p>
          <a:p>
            <a:r>
              <a:rPr lang="en-GB" sz="2000" dirty="0">
                <a:latin typeface="Frutiger LT Std 55 Roman"/>
              </a:rPr>
              <a:t>Difficult to attribute</a:t>
            </a:r>
          </a:p>
          <a:p>
            <a:pPr marL="0" indent="0">
              <a:buNone/>
            </a:pPr>
            <a:endParaRPr lang="nl-NL" sz="2000" dirty="0"/>
          </a:p>
        </p:txBody>
      </p:sp>
      <p:sp>
        <p:nvSpPr>
          <p:cNvPr id="3" name="Slide Number Placeholder 2">
            <a:extLst>
              <a:ext uri="{FF2B5EF4-FFF2-40B4-BE49-F238E27FC236}">
                <a16:creationId xmlns:a16="http://schemas.microsoft.com/office/drawing/2014/main" id="{FE5E2E40-4F6C-4C3C-9B14-8DF8A34D4A0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10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
        <p:nvSpPr>
          <p:cNvPr id="4" name="Footer Placeholder 3">
            <a:extLst>
              <a:ext uri="{FF2B5EF4-FFF2-40B4-BE49-F238E27FC236}">
                <a16:creationId xmlns:a16="http://schemas.microsoft.com/office/drawing/2014/main" id="{8C16FBF1-8E86-459C-A9B8-A4FA2699A585}"/>
              </a:ext>
            </a:extLst>
          </p:cNvPr>
          <p:cNvSpPr>
            <a:spLocks noGrp="1"/>
          </p:cNvSpPr>
          <p:nvPr>
            <p:ph type="ftr" sz="quarter" idx="11"/>
          </p:nvPr>
        </p:nvSpPr>
        <p:spPr>
          <a:xfrm>
            <a:off x="6154759" y="6357848"/>
            <a:ext cx="529249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a:ln>
                  <a:noFill/>
                </a:ln>
                <a:solidFill>
                  <a:srgbClr val="469BC0"/>
                </a:solidFill>
                <a:effectLst/>
                <a:uLnTx/>
                <a:uFillTx/>
                <a:latin typeface="Arial" panose="020B0604020202020204" pitchFamily="34" charset="0"/>
                <a:ea typeface="+mn-ea"/>
                <a:cs typeface="+mn-cs"/>
              </a:rPr>
              <a:t>AESIS CONFERENCE 23-25 June 2020 | Cape Town | Barend van der Meulen</a:t>
            </a:r>
            <a:endParaRPr kumimoji="0" lang="en-GB" sz="1000" b="0" i="0" u="none" strike="noStrike" kern="1200" cap="all" spc="0" normalizeH="0" baseline="0" noProof="0" dirty="0">
              <a:ln>
                <a:noFill/>
              </a:ln>
              <a:solidFill>
                <a:srgbClr val="469BC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86481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372911" y="288925"/>
            <a:ext cx="11582400" cy="6067425"/>
          </a:xfrm>
          <a:prstGeom prst="rect">
            <a:avLst/>
          </a:prstGeom>
        </p:spPr>
      </p:pic>
      <p:sp>
        <p:nvSpPr>
          <p:cNvPr id="8" name="Oval 7">
            <a:extLst>
              <a:ext uri="{FF2B5EF4-FFF2-40B4-BE49-F238E27FC236}">
                <a16:creationId xmlns:a16="http://schemas.microsoft.com/office/drawing/2014/main" id="{88B60C16-E256-44F3-8FBF-048D0F899712}"/>
              </a:ext>
            </a:extLst>
          </p:cNvPr>
          <p:cNvSpPr/>
          <p:nvPr/>
        </p:nvSpPr>
        <p:spPr>
          <a:xfrm>
            <a:off x="8414326" y="3657601"/>
            <a:ext cx="1745673" cy="527446"/>
          </a:xfrm>
          <a:prstGeom prst="ellipse">
            <a:avLst/>
          </a:prstGeom>
          <a:solidFill>
            <a:srgbClr val="63B1E5">
              <a:alpha val="2392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1A3A4C0C-ABF7-4D4E-9D85-22BA9AE7B1C0}"/>
              </a:ext>
            </a:extLst>
          </p:cNvPr>
          <p:cNvSpPr/>
          <p:nvPr/>
        </p:nvSpPr>
        <p:spPr>
          <a:xfrm>
            <a:off x="8414325" y="2025217"/>
            <a:ext cx="1745673" cy="628073"/>
          </a:xfrm>
          <a:prstGeom prst="ellipse">
            <a:avLst/>
          </a:prstGeom>
          <a:solidFill>
            <a:srgbClr val="63B1E5">
              <a:alpha val="2392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Oval 11">
            <a:extLst>
              <a:ext uri="{FF2B5EF4-FFF2-40B4-BE49-F238E27FC236}">
                <a16:creationId xmlns:a16="http://schemas.microsoft.com/office/drawing/2014/main" id="{5B35E9E2-888C-4906-B1E3-8AFEBA7F4F08}"/>
              </a:ext>
            </a:extLst>
          </p:cNvPr>
          <p:cNvSpPr/>
          <p:nvPr/>
        </p:nvSpPr>
        <p:spPr>
          <a:xfrm>
            <a:off x="8317215" y="4699820"/>
            <a:ext cx="2036153" cy="752088"/>
          </a:xfrm>
          <a:prstGeom prst="ellipse">
            <a:avLst/>
          </a:prstGeom>
          <a:solidFill>
            <a:srgbClr val="63B1E5">
              <a:alpha val="23922"/>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2F74F752-D591-447B-B61E-8E5AF4DBD236}"/>
              </a:ext>
            </a:extLst>
          </p:cNvPr>
          <p:cNvSpPr txBox="1"/>
          <p:nvPr/>
        </p:nvSpPr>
        <p:spPr>
          <a:xfrm>
            <a:off x="1671487" y="1396179"/>
            <a:ext cx="2064774" cy="33855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Agenda setting</a:t>
            </a:r>
            <a:endParaRPr kumimoji="0" lang="nl-NL"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7747DDEB-4984-43BA-B67B-D57B64E43690}"/>
              </a:ext>
            </a:extLst>
          </p:cNvPr>
          <p:cNvSpPr txBox="1"/>
          <p:nvPr/>
        </p:nvSpPr>
        <p:spPr>
          <a:xfrm>
            <a:off x="4238222" y="1398969"/>
            <a:ext cx="3932243" cy="33855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Analysis of social aspects of STI</a:t>
            </a:r>
            <a:endParaRPr kumimoji="0" lang="nl-NL"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D0516D5B-D3BB-4E24-9C4F-73D5E3AFED3C}"/>
              </a:ext>
            </a:extLst>
          </p:cNvPr>
          <p:cNvSpPr txBox="1"/>
          <p:nvPr/>
        </p:nvSpPr>
        <p:spPr>
          <a:xfrm>
            <a:off x="8414324" y="1423439"/>
            <a:ext cx="3297128" cy="338554"/>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Policy support</a:t>
            </a:r>
            <a:endParaRPr kumimoji="0" lang="nl-NL"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Footer Placeholder 10">
            <a:extLst>
              <a:ext uri="{FF2B5EF4-FFF2-40B4-BE49-F238E27FC236}">
                <a16:creationId xmlns:a16="http://schemas.microsoft.com/office/drawing/2014/main" id="{8E70CDEF-529B-42DE-A5ED-82381A4A5210}"/>
              </a:ext>
            </a:extLst>
          </p:cNvPr>
          <p:cNvSpPr txBox="1">
            <a:spLocks/>
          </p:cNvSpPr>
          <p:nvPr/>
        </p:nvSpPr>
        <p:spPr>
          <a:xfrm>
            <a:off x="6833448" y="6428968"/>
            <a:ext cx="4790155"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469BC0"/>
                </a:solidFill>
                <a:effectLst/>
                <a:uLnTx/>
                <a:uFillTx/>
                <a:latin typeface="Arial" panose="020B0604020202020204"/>
                <a:ea typeface="+mn-ea"/>
                <a:cs typeface="+mn-cs"/>
              </a:rPr>
              <a:t>AESIS CONFERENCE 4-6 NOVEMBER 2020 | KRAKOW | BAREND VAN DER MEULEN</a:t>
            </a:r>
          </a:p>
        </p:txBody>
      </p:sp>
      <p:sp>
        <p:nvSpPr>
          <p:cNvPr id="21" name="Slide Number Placeholder 11">
            <a:extLst>
              <a:ext uri="{FF2B5EF4-FFF2-40B4-BE49-F238E27FC236}">
                <a16:creationId xmlns:a16="http://schemas.microsoft.com/office/drawing/2014/main" id="{664237A4-1AFE-4572-9555-04B11D9018DC}"/>
              </a:ext>
            </a:extLst>
          </p:cNvPr>
          <p:cNvSpPr txBox="1">
            <a:spLocks/>
          </p:cNvSpPr>
          <p:nvPr/>
        </p:nvSpPr>
        <p:spPr>
          <a:xfrm>
            <a:off x="11576559" y="6356350"/>
            <a:ext cx="352703"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cap="all" baseline="0">
                <a:solidFill>
                  <a:schemeClr val="tx1">
                    <a:tint val="75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900" b="0" i="0" u="none" strike="noStrike" kern="1200" cap="all" spc="0" normalizeH="0" baseline="0" noProof="0" smtClean="0">
                <a:ln>
                  <a:noFill/>
                </a:ln>
                <a:solidFill>
                  <a:srgbClr val="469BC0"/>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900" b="0" i="0" u="none" strike="noStrike" kern="1200" cap="all" spc="0" normalizeH="0" baseline="0" noProof="0" dirty="0">
              <a:ln>
                <a:noFill/>
              </a:ln>
              <a:solidFill>
                <a:srgbClr val="469BC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43394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D5C5C-45AA-49EE-A97B-7AE007A4C3E0}"/>
              </a:ext>
            </a:extLst>
          </p:cNvPr>
          <p:cNvSpPr>
            <a:spLocks noGrp="1"/>
          </p:cNvSpPr>
          <p:nvPr>
            <p:ph type="title"/>
          </p:nvPr>
        </p:nvSpPr>
        <p:spPr/>
        <p:txBody>
          <a:bodyPr/>
          <a:lstStyle/>
          <a:p>
            <a:r>
              <a:rPr lang="en-GB" sz="3200" dirty="0">
                <a:solidFill>
                  <a:srgbClr val="469BC0"/>
                </a:solidFill>
              </a:rPr>
              <a:t>Impact on Parliament</a:t>
            </a:r>
            <a:endParaRPr lang="nl-NL" sz="3200" dirty="0">
              <a:solidFill>
                <a:srgbClr val="469BC0"/>
              </a:solidFill>
            </a:endParaRPr>
          </a:p>
        </p:txBody>
      </p:sp>
      <p:sp>
        <p:nvSpPr>
          <p:cNvPr id="3" name="Content Placeholder 2">
            <a:extLst>
              <a:ext uri="{FF2B5EF4-FFF2-40B4-BE49-F238E27FC236}">
                <a16:creationId xmlns:a16="http://schemas.microsoft.com/office/drawing/2014/main" id="{468A6C69-02A8-4C2A-9CCF-BF3EFE481EB5}"/>
              </a:ext>
            </a:extLst>
          </p:cNvPr>
          <p:cNvSpPr>
            <a:spLocks noGrp="1"/>
          </p:cNvSpPr>
          <p:nvPr>
            <p:ph sz="half" idx="1"/>
          </p:nvPr>
        </p:nvSpPr>
        <p:spPr>
          <a:xfrm>
            <a:off x="1265583" y="1990725"/>
            <a:ext cx="4285472" cy="4163346"/>
          </a:xfrm>
        </p:spPr>
        <p:txBody>
          <a:bodyPr/>
          <a:lstStyle/>
          <a:p>
            <a:r>
              <a:rPr lang="en-GB" sz="2000" dirty="0"/>
              <a:t>Liaison officer for parliament</a:t>
            </a:r>
          </a:p>
          <a:p>
            <a:r>
              <a:rPr lang="en-GB" sz="2000" dirty="0"/>
              <a:t>Regular visits to MPs on science, innovation, higher education</a:t>
            </a:r>
          </a:p>
          <a:p>
            <a:r>
              <a:rPr lang="en-GB" sz="2000" dirty="0"/>
              <a:t>Dedicated publications</a:t>
            </a:r>
          </a:p>
          <a:p>
            <a:pPr lvl="1"/>
            <a:r>
              <a:rPr lang="en-GB" sz="1800" dirty="0"/>
              <a:t>summary of annual science and innovation budget</a:t>
            </a:r>
          </a:p>
          <a:p>
            <a:pPr lvl="1"/>
            <a:r>
              <a:rPr lang="en-GB" sz="1800" dirty="0"/>
              <a:t>policy briefs to prepare parliamentary committee meetings</a:t>
            </a:r>
          </a:p>
          <a:p>
            <a:r>
              <a:rPr lang="en-GB" sz="2000" dirty="0"/>
              <a:t>Workshops for MP staff</a:t>
            </a:r>
          </a:p>
          <a:p>
            <a:pPr lvl="1"/>
            <a:endParaRPr lang="en-GB" sz="1800" dirty="0"/>
          </a:p>
        </p:txBody>
      </p:sp>
      <p:sp>
        <p:nvSpPr>
          <p:cNvPr id="4" name="Content Placeholder 3">
            <a:extLst>
              <a:ext uri="{FF2B5EF4-FFF2-40B4-BE49-F238E27FC236}">
                <a16:creationId xmlns:a16="http://schemas.microsoft.com/office/drawing/2014/main" id="{A92255D9-F574-40CE-9C1B-F8F7F149A6B8}"/>
              </a:ext>
            </a:extLst>
          </p:cNvPr>
          <p:cNvSpPr>
            <a:spLocks noGrp="1"/>
          </p:cNvSpPr>
          <p:nvPr>
            <p:ph sz="half" idx="2"/>
          </p:nvPr>
        </p:nvSpPr>
        <p:spPr>
          <a:xfrm>
            <a:off x="5756564" y="1990725"/>
            <a:ext cx="6024619" cy="4163346"/>
          </a:xfrm>
        </p:spPr>
        <p:txBody>
          <a:bodyPr/>
          <a:lstStyle/>
          <a:p>
            <a:pPr marL="0" indent="0">
              <a:buNone/>
            </a:pPr>
            <a:r>
              <a:rPr lang="nl-NL" sz="2000" dirty="0" err="1"/>
              <a:t>Outcomes</a:t>
            </a:r>
            <a:r>
              <a:rPr lang="nl-NL" sz="2000" dirty="0"/>
              <a:t> </a:t>
            </a:r>
            <a:r>
              <a:rPr lang="nl-NL" sz="2000" dirty="0" err="1"/>
              <a:t>and</a:t>
            </a:r>
            <a:r>
              <a:rPr lang="nl-NL" sz="2000" dirty="0"/>
              <a:t> impacts</a:t>
            </a:r>
          </a:p>
          <a:p>
            <a:r>
              <a:rPr lang="nl-NL" sz="2000" dirty="0" err="1"/>
              <a:t>Increased</a:t>
            </a:r>
            <a:r>
              <a:rPr lang="nl-NL" sz="2000" dirty="0"/>
              <a:t> </a:t>
            </a:r>
            <a:r>
              <a:rPr lang="nl-NL" sz="2000" dirty="0" err="1"/>
              <a:t>use</a:t>
            </a:r>
            <a:r>
              <a:rPr lang="nl-NL" sz="2000" dirty="0"/>
              <a:t> of </a:t>
            </a:r>
            <a:r>
              <a:rPr lang="nl-NL" sz="2000" dirty="0" err="1"/>
              <a:t>reports</a:t>
            </a:r>
            <a:r>
              <a:rPr lang="nl-NL" sz="2000" dirty="0"/>
              <a:t> in </a:t>
            </a:r>
            <a:r>
              <a:rPr lang="nl-NL" sz="2000" dirty="0" err="1"/>
              <a:t>debate</a:t>
            </a:r>
            <a:endParaRPr lang="nl-NL" sz="2000" dirty="0"/>
          </a:p>
          <a:p>
            <a:pPr lvl="1"/>
            <a:r>
              <a:rPr lang="nl-NL" sz="1600" dirty="0" err="1"/>
              <a:t>Questions</a:t>
            </a:r>
            <a:r>
              <a:rPr lang="nl-NL" sz="1600" dirty="0"/>
              <a:t> </a:t>
            </a:r>
            <a:r>
              <a:rPr lang="nl-NL" sz="1600" dirty="0" err="1"/>
              <a:t>to</a:t>
            </a:r>
            <a:r>
              <a:rPr lang="nl-NL" sz="1600" dirty="0"/>
              <a:t> minister</a:t>
            </a:r>
          </a:p>
          <a:p>
            <a:pPr lvl="1"/>
            <a:r>
              <a:rPr lang="nl-NL" sz="1600" dirty="0" err="1"/>
              <a:t>References</a:t>
            </a:r>
            <a:r>
              <a:rPr lang="nl-NL" sz="1600" dirty="0"/>
              <a:t> </a:t>
            </a:r>
            <a:r>
              <a:rPr lang="nl-NL" sz="1600" dirty="0" err="1"/>
              <a:t>to</a:t>
            </a:r>
            <a:r>
              <a:rPr lang="nl-NL" sz="1600" dirty="0"/>
              <a:t> </a:t>
            </a:r>
            <a:r>
              <a:rPr lang="nl-NL" sz="1600" dirty="0" err="1"/>
              <a:t>reports</a:t>
            </a:r>
            <a:r>
              <a:rPr lang="nl-NL" sz="1600" dirty="0"/>
              <a:t> </a:t>
            </a:r>
            <a:r>
              <a:rPr lang="nl-NL" sz="1600" dirty="0" err="1"/>
              <a:t>and</a:t>
            </a:r>
            <a:r>
              <a:rPr lang="nl-NL" sz="1600" dirty="0"/>
              <a:t> policy </a:t>
            </a:r>
            <a:r>
              <a:rPr lang="nl-NL" sz="1600" dirty="0" err="1"/>
              <a:t>briefs</a:t>
            </a:r>
            <a:endParaRPr lang="nl-NL" sz="1600" dirty="0"/>
          </a:p>
          <a:p>
            <a:pPr lvl="1"/>
            <a:r>
              <a:rPr lang="nl-NL" sz="1600" dirty="0"/>
              <a:t>Adoption of policy </a:t>
            </a:r>
            <a:r>
              <a:rPr lang="nl-NL" sz="1600" dirty="0" err="1"/>
              <a:t>frameworks</a:t>
            </a:r>
            <a:r>
              <a:rPr lang="nl-NL" sz="1600" dirty="0"/>
              <a:t>: </a:t>
            </a:r>
            <a:r>
              <a:rPr lang="nl-NL" sz="1600" dirty="0" err="1"/>
              <a:t>funding</a:t>
            </a:r>
            <a:r>
              <a:rPr lang="nl-NL" sz="1600" dirty="0"/>
              <a:t>, </a:t>
            </a:r>
            <a:r>
              <a:rPr lang="nl-NL" sz="1600" dirty="0" err="1"/>
              <a:t>social</a:t>
            </a:r>
            <a:r>
              <a:rPr lang="nl-NL" sz="1600" dirty="0"/>
              <a:t> impact of </a:t>
            </a:r>
            <a:r>
              <a:rPr lang="nl-NL" sz="1600" dirty="0" err="1"/>
              <a:t>science</a:t>
            </a:r>
            <a:endParaRPr lang="nl-NL" sz="1600" dirty="0"/>
          </a:p>
          <a:p>
            <a:r>
              <a:rPr lang="nl-NL" sz="2000" dirty="0" err="1"/>
              <a:t>Invitations</a:t>
            </a:r>
            <a:r>
              <a:rPr lang="nl-NL" sz="2000" dirty="0"/>
              <a:t> </a:t>
            </a:r>
            <a:r>
              <a:rPr lang="nl-NL" sz="2000" dirty="0" err="1"/>
              <a:t>for</a:t>
            </a:r>
            <a:r>
              <a:rPr lang="nl-NL" sz="2000" dirty="0"/>
              <a:t> hearings</a:t>
            </a:r>
          </a:p>
          <a:p>
            <a:r>
              <a:rPr lang="nl-NL" sz="2000" dirty="0" err="1"/>
              <a:t>Requests</a:t>
            </a:r>
            <a:r>
              <a:rPr lang="nl-NL" sz="2000" dirty="0"/>
              <a:t> </a:t>
            </a:r>
            <a:r>
              <a:rPr lang="nl-NL" sz="2000" dirty="0" err="1"/>
              <a:t>for</a:t>
            </a:r>
            <a:r>
              <a:rPr lang="nl-NL" sz="2000" dirty="0"/>
              <a:t> </a:t>
            </a:r>
            <a:r>
              <a:rPr lang="nl-NL" sz="2000" dirty="0" err="1"/>
              <a:t>reports</a:t>
            </a:r>
            <a:endParaRPr lang="nl-NL" sz="2000" dirty="0"/>
          </a:p>
          <a:p>
            <a:pPr lvl="1"/>
            <a:r>
              <a:rPr lang="nl-NL" sz="1600" dirty="0"/>
              <a:t>Assessment of </a:t>
            </a:r>
            <a:r>
              <a:rPr lang="nl-NL" sz="1600" dirty="0" err="1"/>
              <a:t>white</a:t>
            </a:r>
            <a:r>
              <a:rPr lang="nl-NL" sz="1600" dirty="0"/>
              <a:t> paper</a:t>
            </a:r>
          </a:p>
          <a:p>
            <a:pPr lvl="1"/>
            <a:r>
              <a:rPr lang="nl-NL" sz="1600" dirty="0" err="1"/>
              <a:t>Analysing</a:t>
            </a:r>
            <a:r>
              <a:rPr lang="nl-NL" sz="1600" dirty="0"/>
              <a:t> return on </a:t>
            </a:r>
            <a:r>
              <a:rPr lang="nl-NL" sz="1600" dirty="0" err="1"/>
              <a:t>investments</a:t>
            </a:r>
            <a:r>
              <a:rPr lang="nl-NL" sz="1600" dirty="0"/>
              <a:t> in </a:t>
            </a:r>
            <a:r>
              <a:rPr lang="nl-NL" sz="1600" dirty="0" err="1"/>
              <a:t>science</a:t>
            </a:r>
            <a:endParaRPr lang="nl-NL" sz="1600" dirty="0"/>
          </a:p>
          <a:p>
            <a:endParaRPr lang="nl-NL" sz="2000" dirty="0"/>
          </a:p>
          <a:p>
            <a:r>
              <a:rPr lang="nl-NL" sz="2000" dirty="0"/>
              <a:t>Impacts on </a:t>
            </a:r>
            <a:r>
              <a:rPr lang="nl-NL" sz="2000" dirty="0" err="1"/>
              <a:t>ministries</a:t>
            </a:r>
            <a:r>
              <a:rPr lang="nl-NL" sz="2000" dirty="0"/>
              <a:t> and </a:t>
            </a:r>
            <a:r>
              <a:rPr lang="nl-NL" sz="2000" dirty="0" err="1"/>
              <a:t>other</a:t>
            </a:r>
            <a:r>
              <a:rPr lang="nl-NL" sz="2000" dirty="0"/>
              <a:t> stakeholders</a:t>
            </a:r>
          </a:p>
          <a:p>
            <a:endParaRPr lang="nl-NL" sz="2000" dirty="0"/>
          </a:p>
        </p:txBody>
      </p:sp>
      <p:sp>
        <p:nvSpPr>
          <p:cNvPr id="9" name="Footer Placeholder 10">
            <a:extLst>
              <a:ext uri="{FF2B5EF4-FFF2-40B4-BE49-F238E27FC236}">
                <a16:creationId xmlns:a16="http://schemas.microsoft.com/office/drawing/2014/main" id="{7E764CB3-0EC5-4621-87E4-208267380BDB}"/>
              </a:ext>
            </a:extLst>
          </p:cNvPr>
          <p:cNvSpPr txBox="1">
            <a:spLocks/>
          </p:cNvSpPr>
          <p:nvPr/>
        </p:nvSpPr>
        <p:spPr>
          <a:xfrm>
            <a:off x="6720720" y="6412455"/>
            <a:ext cx="5292493"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69BC0"/>
                </a:solidFill>
                <a:effectLst/>
                <a:uLnTx/>
                <a:uFillTx/>
                <a:latin typeface="Arial" panose="020B0604020202020204"/>
                <a:ea typeface="+mn-ea"/>
                <a:cs typeface="+mn-cs"/>
              </a:rPr>
              <a:t>AESIS CONFERENCE 4-6 November 2020 | Krakow | Barend van der Meulen</a:t>
            </a:r>
          </a:p>
        </p:txBody>
      </p:sp>
      <p:sp>
        <p:nvSpPr>
          <p:cNvPr id="10" name="Slide Number Placeholder 11">
            <a:extLst>
              <a:ext uri="{FF2B5EF4-FFF2-40B4-BE49-F238E27FC236}">
                <a16:creationId xmlns:a16="http://schemas.microsoft.com/office/drawing/2014/main" id="{0532E1DB-8A9E-4CD6-B52D-E14C42FABE98}"/>
              </a:ext>
            </a:extLst>
          </p:cNvPr>
          <p:cNvSpPr txBox="1">
            <a:spLocks/>
          </p:cNvSpPr>
          <p:nvPr/>
        </p:nvSpPr>
        <p:spPr>
          <a:xfrm>
            <a:off x="11447252" y="6356350"/>
            <a:ext cx="352703" cy="365125"/>
          </a:xfrm>
          <a:prstGeom prst="rect">
            <a:avLst/>
          </a:prstGeom>
          <a:ln>
            <a:noFill/>
          </a:ln>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9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9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02451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94124-E7AF-4162-AECD-C8DE645FAFFF}"/>
              </a:ext>
            </a:extLst>
          </p:cNvPr>
          <p:cNvSpPr>
            <a:spLocks noGrp="1"/>
          </p:cNvSpPr>
          <p:nvPr>
            <p:ph type="title"/>
          </p:nvPr>
        </p:nvSpPr>
        <p:spPr/>
        <p:txBody>
          <a:bodyPr/>
          <a:lstStyle/>
          <a:p>
            <a:r>
              <a:rPr lang="en-GB" dirty="0"/>
              <a:t>Universities with impact</a:t>
            </a:r>
            <a:endParaRPr lang="nl-NL" dirty="0"/>
          </a:p>
        </p:txBody>
      </p:sp>
      <p:sp>
        <p:nvSpPr>
          <p:cNvPr id="6" name="Content Placeholder 5">
            <a:extLst>
              <a:ext uri="{FF2B5EF4-FFF2-40B4-BE49-F238E27FC236}">
                <a16:creationId xmlns:a16="http://schemas.microsoft.com/office/drawing/2014/main" id="{DEF9F244-2994-4860-B7E6-C43BFD30C436}"/>
              </a:ext>
            </a:extLst>
          </p:cNvPr>
          <p:cNvSpPr>
            <a:spLocks noGrp="1"/>
          </p:cNvSpPr>
          <p:nvPr>
            <p:ph sz="half" idx="1"/>
          </p:nvPr>
        </p:nvSpPr>
        <p:spPr>
          <a:xfrm>
            <a:off x="1265582" y="1990725"/>
            <a:ext cx="10515600" cy="3153930"/>
          </a:xfrm>
        </p:spPr>
        <p:txBody>
          <a:bodyPr/>
          <a:lstStyle/>
          <a:p>
            <a:r>
              <a:rPr lang="en-GB" sz="2400" dirty="0"/>
              <a:t>Increasing HE budgets: universities pushed to show their benefit for society</a:t>
            </a:r>
          </a:p>
          <a:p>
            <a:r>
              <a:rPr lang="en-GB" sz="2400" dirty="0"/>
              <a:t>Universities as “policy instruments” for regional and urban development. Employment, new businesses, social resilience, </a:t>
            </a:r>
            <a:endParaRPr lang="nl-NL" sz="2400" dirty="0"/>
          </a:p>
          <a:p>
            <a:r>
              <a:rPr lang="nl-NL" sz="2400" dirty="0"/>
              <a:t>Open </a:t>
            </a:r>
            <a:r>
              <a:rPr lang="nl-NL" sz="2400" dirty="0" err="1"/>
              <a:t>innovation</a:t>
            </a:r>
            <a:r>
              <a:rPr lang="nl-NL" sz="2400" dirty="0"/>
              <a:t>, open </a:t>
            </a:r>
            <a:r>
              <a:rPr lang="nl-NL" sz="2400" dirty="0" err="1"/>
              <a:t>science</a:t>
            </a:r>
            <a:r>
              <a:rPr lang="nl-NL" sz="2400" dirty="0"/>
              <a:t>, open </a:t>
            </a:r>
            <a:r>
              <a:rPr lang="nl-NL" sz="2400" dirty="0" err="1"/>
              <a:t>higher</a:t>
            </a:r>
            <a:r>
              <a:rPr lang="nl-NL" sz="2400" dirty="0"/>
              <a:t> </a:t>
            </a:r>
            <a:r>
              <a:rPr lang="nl-NL" sz="2400" dirty="0" err="1"/>
              <a:t>education</a:t>
            </a:r>
            <a:endParaRPr lang="nl-NL" sz="2400" dirty="0"/>
          </a:p>
          <a:p>
            <a:r>
              <a:rPr lang="nl-NL" sz="2400" dirty="0" err="1"/>
              <a:t>Universities</a:t>
            </a:r>
            <a:r>
              <a:rPr lang="nl-NL" sz="2400" dirty="0"/>
              <a:t> </a:t>
            </a:r>
            <a:r>
              <a:rPr lang="nl-NL" sz="2400" dirty="0" err="1"/>
              <a:t>role</a:t>
            </a:r>
            <a:r>
              <a:rPr lang="nl-NL" sz="2400" dirty="0"/>
              <a:t> in </a:t>
            </a:r>
            <a:r>
              <a:rPr lang="nl-NL" sz="2400" dirty="0" err="1"/>
              <a:t>responding</a:t>
            </a:r>
            <a:r>
              <a:rPr lang="nl-NL" sz="2400" dirty="0"/>
              <a:t> </a:t>
            </a:r>
            <a:r>
              <a:rPr lang="nl-NL" sz="2400" dirty="0" err="1"/>
              <a:t>to</a:t>
            </a:r>
            <a:r>
              <a:rPr lang="nl-NL" sz="2400" dirty="0"/>
              <a:t> </a:t>
            </a:r>
            <a:r>
              <a:rPr lang="nl-NL" sz="2400" dirty="0" err="1"/>
              <a:t>sustainable</a:t>
            </a:r>
            <a:r>
              <a:rPr lang="nl-NL" sz="2400" dirty="0"/>
              <a:t> development goals</a:t>
            </a:r>
          </a:p>
          <a:p>
            <a:r>
              <a:rPr lang="nl-NL" sz="2400" dirty="0" err="1"/>
              <a:t>Combining</a:t>
            </a:r>
            <a:r>
              <a:rPr lang="nl-NL" sz="2400" dirty="0"/>
              <a:t> </a:t>
            </a:r>
            <a:r>
              <a:rPr lang="nl-NL" sz="2400" dirty="0" err="1"/>
              <a:t>entrepreneurship</a:t>
            </a:r>
            <a:r>
              <a:rPr lang="nl-NL" sz="2400" dirty="0"/>
              <a:t>, </a:t>
            </a:r>
            <a:r>
              <a:rPr lang="nl-NL" sz="2400" dirty="0" err="1"/>
              <a:t>social</a:t>
            </a:r>
            <a:r>
              <a:rPr lang="nl-NL" sz="2400" dirty="0"/>
              <a:t> </a:t>
            </a:r>
            <a:r>
              <a:rPr lang="nl-NL" sz="2400" dirty="0" err="1"/>
              <a:t>innovation</a:t>
            </a:r>
            <a:r>
              <a:rPr lang="nl-NL" sz="2400" dirty="0"/>
              <a:t>, engagement, </a:t>
            </a:r>
            <a:r>
              <a:rPr lang="nl-NL" sz="2400" dirty="0" err="1"/>
              <a:t>cocreation</a:t>
            </a:r>
            <a:r>
              <a:rPr lang="nl-NL" sz="2400" dirty="0"/>
              <a:t> of </a:t>
            </a:r>
            <a:r>
              <a:rPr lang="nl-NL" sz="2400" dirty="0" err="1"/>
              <a:t>knowledge</a:t>
            </a:r>
            <a:r>
              <a:rPr lang="nl-NL" sz="2400" dirty="0"/>
              <a:t> in </a:t>
            </a:r>
            <a:r>
              <a:rPr lang="nl-NL" sz="2400" dirty="0" err="1"/>
              <a:t>education</a:t>
            </a:r>
            <a:r>
              <a:rPr lang="nl-NL" sz="2400" dirty="0"/>
              <a:t> and teaching</a:t>
            </a:r>
          </a:p>
          <a:p>
            <a:pPr marL="0" indent="0">
              <a:buNone/>
            </a:pPr>
            <a:endParaRPr lang="en-GB" sz="2400" dirty="0"/>
          </a:p>
        </p:txBody>
      </p:sp>
      <p:sp>
        <p:nvSpPr>
          <p:cNvPr id="9" name="Footer Placeholder 8">
            <a:extLst>
              <a:ext uri="{FF2B5EF4-FFF2-40B4-BE49-F238E27FC236}">
                <a16:creationId xmlns:a16="http://schemas.microsoft.com/office/drawing/2014/main" id="{5AA239C2-58F5-477C-B6AB-3FFDEAFE1567}"/>
              </a:ext>
            </a:extLst>
          </p:cNvPr>
          <p:cNvSpPr>
            <a:spLocks noGrp="1"/>
          </p:cNvSpPr>
          <p:nvPr>
            <p:ph type="ftr" sz="quarter" idx="11"/>
          </p:nvPr>
        </p:nvSpPr>
        <p:spPr>
          <a:xfrm>
            <a:off x="6220468" y="6357848"/>
            <a:ext cx="529249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dirty="0">
                <a:ln>
                  <a:noFill/>
                </a:ln>
                <a:solidFill>
                  <a:srgbClr val="469BC0"/>
                </a:solidFill>
                <a:effectLst/>
                <a:uLnTx/>
                <a:uFillTx/>
                <a:latin typeface="Arial" panose="020B0604020202020204" pitchFamily="34" charset="0"/>
                <a:ea typeface="+mn-ea"/>
                <a:cs typeface="+mn-cs"/>
              </a:rPr>
              <a:t>AESIS CONFERENCE 23-25 June 2020 | Cape Town | Barend van der Meulen</a:t>
            </a:r>
          </a:p>
        </p:txBody>
      </p:sp>
      <p:sp>
        <p:nvSpPr>
          <p:cNvPr id="10" name="Slide Number Placeholder 9">
            <a:extLst>
              <a:ext uri="{FF2B5EF4-FFF2-40B4-BE49-F238E27FC236}">
                <a16:creationId xmlns:a16="http://schemas.microsoft.com/office/drawing/2014/main" id="{B588A070-2047-4A2D-8905-62E6713FC260}"/>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86D83B-F5E2-6149-B7DD-0F6F1BA75908}" type="slidenum">
              <a:rPr kumimoji="0" lang="en-US" sz="1000" b="0" i="0" u="none" strike="noStrike" kern="1200" cap="none" spc="0" normalizeH="0" baseline="0" noProof="0" smtClean="0">
                <a:ln>
                  <a:noFill/>
                </a:ln>
                <a:solidFill>
                  <a:srgbClr val="469BC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469BC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5108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enutzerdefiniertes Design">
  <a:themeElements>
    <a:clrScheme name="a+ 2020">
      <a:dk1>
        <a:srgbClr val="5A616A"/>
      </a:dk1>
      <a:lt1>
        <a:srgbClr val="FFFFFF"/>
      </a:lt1>
      <a:dk2>
        <a:srgbClr val="E95057"/>
      </a:dk2>
      <a:lt2>
        <a:srgbClr val="E7E6E6"/>
      </a:lt2>
      <a:accent1>
        <a:srgbClr val="B9192D"/>
      </a:accent1>
      <a:accent2>
        <a:srgbClr val="EF8600"/>
      </a:accent2>
      <a:accent3>
        <a:srgbClr val="FCC41D"/>
      </a:accent3>
      <a:accent4>
        <a:srgbClr val="7C134C"/>
      </a:accent4>
      <a:accent5>
        <a:srgbClr val="BF6578"/>
      </a:accent5>
      <a:accent6>
        <a:srgbClr val="F9C6C0"/>
      </a:accent6>
      <a:hlink>
        <a:srgbClr val="EA5159"/>
      </a:hlink>
      <a:folHlink>
        <a:srgbClr val="BA192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_PP_E" id="{D1DF7A75-515D-C946-B7ED-F6C4C8078DB2}" vid="{56DFE06B-F246-2249-8F12-1A1FBEC9D46F}"/>
    </a:ext>
  </a:extLst>
</a:theme>
</file>

<file path=ppt/theme/theme3.xml><?xml version="1.0" encoding="utf-8"?>
<a:theme xmlns:a="http://schemas.openxmlformats.org/drawingml/2006/main" name="UT Title slide White">
  <a:themeElements>
    <a:clrScheme name="UT colors">
      <a:dk1>
        <a:srgbClr val="000000"/>
      </a:dk1>
      <a:lt1>
        <a:srgbClr val="FFFFFF"/>
      </a:lt1>
      <a:dk2>
        <a:srgbClr val="616365"/>
      </a:dk2>
      <a:lt2>
        <a:srgbClr val="ADAFAF"/>
      </a:lt2>
      <a:accent1>
        <a:srgbClr val="63B1E5"/>
      </a:accent1>
      <a:accent2>
        <a:srgbClr val="EC7908"/>
      </a:accent2>
      <a:accent3>
        <a:srgbClr val="CF0071"/>
      </a:accent3>
      <a:accent4>
        <a:srgbClr val="FED100"/>
      </a:accent4>
      <a:accent5>
        <a:srgbClr val="0093B3"/>
      </a:accent5>
      <a:accent6>
        <a:srgbClr val="34B234"/>
      </a:accent6>
      <a:hlink>
        <a:srgbClr val="002C5F"/>
      </a:hlink>
      <a:folHlink>
        <a:srgbClr val="C60C3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0314BC50-F4A4-491C-91F0-4AC87213A3C1}" vid="{0778C2FD-BF90-462A-93A3-FAAE59DF6959}"/>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ethods and Tools for Impact Mapping</Template>
  <TotalTime>21</TotalTime>
  <Words>4751</Words>
  <Application>Microsoft Office PowerPoint</Application>
  <PresentationFormat>Breedbeeld</PresentationFormat>
  <Paragraphs>667</Paragraphs>
  <Slides>58</Slides>
  <Notes>13</Notes>
  <HiddenSlides>0</HiddenSlides>
  <MMClips>0</MMClips>
  <ScaleCrop>false</ScaleCrop>
  <HeadingPairs>
    <vt:vector size="8" baseType="variant">
      <vt:variant>
        <vt:lpstr>Gebruikte lettertypen</vt:lpstr>
      </vt:variant>
      <vt:variant>
        <vt:i4>20</vt:i4>
      </vt:variant>
      <vt:variant>
        <vt:lpstr>Thema</vt:lpstr>
      </vt:variant>
      <vt:variant>
        <vt:i4>5</vt:i4>
      </vt:variant>
      <vt:variant>
        <vt:lpstr>Ingesloten OLE-bronprogramma's</vt:lpstr>
      </vt:variant>
      <vt:variant>
        <vt:i4>1</vt:i4>
      </vt:variant>
      <vt:variant>
        <vt:lpstr>Diatitels</vt:lpstr>
      </vt:variant>
      <vt:variant>
        <vt:i4>58</vt:i4>
      </vt:variant>
    </vt:vector>
  </HeadingPairs>
  <TitlesOfParts>
    <vt:vector size="84" baseType="lpstr">
      <vt:lpstr>DengXian</vt:lpstr>
      <vt:lpstr>맑은 고딕</vt:lpstr>
      <vt:lpstr>Arial</vt:lpstr>
      <vt:lpstr>Arial Narrow</vt:lpstr>
      <vt:lpstr>Avenir Next Condensed</vt:lpstr>
      <vt:lpstr>Calibri</vt:lpstr>
      <vt:lpstr>Calibri Light</vt:lpstr>
      <vt:lpstr>Carlito</vt:lpstr>
      <vt:lpstr>CharisSIL</vt:lpstr>
      <vt:lpstr>Corbel</vt:lpstr>
      <vt:lpstr>Frutiger LT Std 55 Roman</vt:lpstr>
      <vt:lpstr>Garamond</vt:lpstr>
      <vt:lpstr>LucidaGrande</vt:lpstr>
      <vt:lpstr>Menlo-Regular</vt:lpstr>
      <vt:lpstr>Segoe UI</vt:lpstr>
      <vt:lpstr>Symbol</vt:lpstr>
      <vt:lpstr>Times New Roman</vt:lpstr>
      <vt:lpstr>Times New Roman (Body CS)</vt:lpstr>
      <vt:lpstr>Univers Next W02</vt:lpstr>
      <vt:lpstr>Verdana</vt:lpstr>
      <vt:lpstr>Kantoorthema</vt:lpstr>
      <vt:lpstr>1_Benutzerdefiniertes Design</vt:lpstr>
      <vt:lpstr>UT Title slide White</vt:lpstr>
      <vt:lpstr>Office Theme</vt:lpstr>
      <vt:lpstr>1_Office Theme</vt:lpstr>
      <vt:lpstr>think-cell Slide</vt:lpstr>
      <vt:lpstr>PowerPoint-presentatie</vt:lpstr>
      <vt:lpstr>PowerPoint-presentatie</vt:lpstr>
      <vt:lpstr>PowerPoint-presentatie</vt:lpstr>
      <vt:lpstr>Impact assessment for Effectiveness</vt:lpstr>
      <vt:lpstr>Developments in Impact of Science</vt:lpstr>
      <vt:lpstr>Mission, measuring, impact</vt:lpstr>
      <vt:lpstr>PowerPoint-presentatie</vt:lpstr>
      <vt:lpstr>Impact on Parliament</vt:lpstr>
      <vt:lpstr>Universities with impact</vt:lpstr>
      <vt:lpstr>University of Twente Shaping 2030</vt:lpstr>
      <vt:lpstr>Cheps Toolbox for Assessing IMPACT of University</vt:lpstr>
      <vt:lpstr>Cheps Toolbox for Assessing IMPACT of University</vt:lpstr>
      <vt:lpstr>Cheps Toolbox for Assessing IMPACT of University</vt:lpstr>
      <vt:lpstr>Cheps Toolbox for Assessing IMPACT of University</vt:lpstr>
      <vt:lpstr>Conclusions and…</vt:lpstr>
      <vt:lpstr>Thank YOu</vt:lpstr>
      <vt:lpstr>PowerPoint-presentatie</vt:lpstr>
      <vt:lpstr>PowerPoint-presentatie</vt:lpstr>
      <vt:lpstr>PowerPoint-presentatie</vt:lpstr>
      <vt:lpstr>PowerPoint-presentatie</vt:lpstr>
      <vt:lpstr>Social Sciences and Humanities in South Africa</vt:lpstr>
      <vt:lpstr>PowerPoint-presentatie</vt:lpstr>
      <vt:lpstr>Impact for the HSRC</vt:lpstr>
      <vt:lpstr>PowerPoint-presentatie</vt:lpstr>
      <vt:lpstr>Normative research impact value chain</vt:lpstr>
      <vt:lpstr>PowerPoint-presentatie</vt:lpstr>
      <vt:lpstr>Impact assessment </vt:lpstr>
      <vt:lpstr>“Measuring” impact</vt:lpstr>
      <vt:lpstr>How Impact is Not a Science</vt:lpstr>
      <vt:lpstr>Attribution </vt:lpstr>
      <vt:lpstr>PowerPoint-presentatie</vt:lpstr>
      <vt:lpstr>PowerPoint-presentatie</vt:lpstr>
      <vt:lpstr>PowerPoint-presentatie</vt:lpstr>
      <vt:lpstr>PowerPoint-presentatie</vt:lpstr>
      <vt:lpstr>PowerPoint-presentatie</vt:lpstr>
      <vt:lpstr>Critical research impact </vt:lpstr>
      <vt:lpstr>Research Impact Interrupted </vt:lpstr>
      <vt:lpstr>Impact Research and Practice Areas</vt:lpstr>
      <vt:lpstr>Enhancing social impact </vt:lpstr>
      <vt:lpstr>PowerPoint-presentatie</vt:lpstr>
      <vt:lpstr>PowerPoint-presentatie</vt:lpstr>
      <vt:lpstr>I M PACT OF S C I E NC E</vt:lpstr>
      <vt:lpstr>  Singapore’s Innovation Journey </vt:lpstr>
      <vt:lpstr>Singapore – Research, Innovation &amp;  Enterprise</vt:lpstr>
      <vt:lpstr>RIE 2025 Strategy </vt:lpstr>
      <vt:lpstr>RIE 2025 Budget </vt:lpstr>
      <vt:lpstr>How do countries compare in terms of  Research Excellence?</vt:lpstr>
      <vt:lpstr>From Research Excellence to Innovation and  Enterprise ( I&amp;E) Devt</vt:lpstr>
      <vt:lpstr>Consider these I&amp;E Impact Indicators</vt:lpstr>
      <vt:lpstr>Consider these I&amp;E Impact Indicators</vt:lpstr>
      <vt:lpstr>Impact Assessment of Science through Innovation &amp; Enterprise ( I&amp;E) Development</vt:lpstr>
      <vt:lpstr>Patents Filed/ Awarded/ Owned vs Commercialised?</vt:lpstr>
      <vt:lpstr>Singapore – A Vibrant Innovation/ Startup Ecosystem</vt:lpstr>
      <vt:lpstr>Singapore – A Vibrant Innovation/ Startup Ecosystem</vt:lpstr>
      <vt:lpstr>Singapore – A Vibrant Innovation/ Startup Ecosystem</vt:lpstr>
      <vt:lpstr>Resources</vt:lpstr>
      <vt:lpstr>Questions?</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Youssef Ramadan</dc:creator>
  <cp:lastModifiedBy>Youssef Ramadan</cp:lastModifiedBy>
  <cp:revision>3</cp:revision>
  <dcterms:created xsi:type="dcterms:W3CDTF">2021-06-30T08:09:00Z</dcterms:created>
  <dcterms:modified xsi:type="dcterms:W3CDTF">2021-06-30T08:30:25Z</dcterms:modified>
</cp:coreProperties>
</file>